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7" r:id="rId4"/>
  </p:sldMasterIdLst>
  <p:notesMasterIdLst>
    <p:notesMasterId r:id="rId6"/>
  </p:notesMasterIdLst>
  <p:sldIdLst>
    <p:sldId id="260" r:id="rId5"/>
  </p:sldIdLst>
  <p:sldSz cx="12801600" cy="9601200" type="A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6" autoAdjust="0"/>
    <p:restoredTop sz="94660"/>
  </p:normalViewPr>
  <p:slideViewPr>
    <p:cSldViewPr snapToGrid="0">
      <p:cViewPr varScale="1">
        <p:scale>
          <a:sx n="65" d="100"/>
          <a:sy n="65" d="100"/>
        </p:scale>
        <p:origin x="744" y="5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2B62DA-AB5A-4C73-972A-1B06A84F0630}" type="doc">
      <dgm:prSet loTypeId="urn:microsoft.com/office/officeart/2005/8/layout/radial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0947118-239E-4041-A75D-C98B7242DD84}">
      <dgm:prSet phldrT="[Text]"/>
      <dgm:spPr/>
      <dgm:t>
        <a:bodyPr/>
        <a:lstStyle/>
        <a:p>
          <a:r>
            <a:rPr lang="en-US" dirty="0"/>
            <a:t>Consortium</a:t>
          </a:r>
        </a:p>
      </dgm:t>
    </dgm:pt>
    <dgm:pt modelId="{954DA2A0-FBE5-4450-92CA-6054E27AA6D5}" type="parTrans" cxnId="{3F9858BF-E95B-4B86-8765-D76FE242F6DF}">
      <dgm:prSet/>
      <dgm:spPr/>
      <dgm:t>
        <a:bodyPr/>
        <a:lstStyle/>
        <a:p>
          <a:endParaRPr lang="en-US"/>
        </a:p>
      </dgm:t>
    </dgm:pt>
    <dgm:pt modelId="{D44C6049-268E-4EA1-BF85-7D1C1BB43EB3}" type="sibTrans" cxnId="{3F9858BF-E95B-4B86-8765-D76FE242F6DF}">
      <dgm:prSet/>
      <dgm:spPr/>
      <dgm:t>
        <a:bodyPr/>
        <a:lstStyle/>
        <a:p>
          <a:endParaRPr lang="en-US"/>
        </a:p>
      </dgm:t>
    </dgm:pt>
    <dgm:pt modelId="{D5E7732A-228F-43A8-9483-5FC8804E8C2E}">
      <dgm:prSet phldrT="[Text]"/>
      <dgm:spPr/>
      <dgm:t>
        <a:bodyPr/>
        <a:lstStyle/>
        <a:p>
          <a:endParaRPr lang="en-US" dirty="0"/>
        </a:p>
      </dgm:t>
    </dgm:pt>
    <dgm:pt modelId="{9AF1BCE7-2EFA-47C9-B110-FCABA114C23A}" type="parTrans" cxnId="{241FCF28-EE20-496D-90D0-EE3916CD14AE}">
      <dgm:prSet/>
      <dgm:spPr/>
      <dgm:t>
        <a:bodyPr/>
        <a:lstStyle/>
        <a:p>
          <a:endParaRPr lang="en-US"/>
        </a:p>
      </dgm:t>
    </dgm:pt>
    <dgm:pt modelId="{019415EA-AADA-4A68-973B-BDD253656A80}" type="sibTrans" cxnId="{241FCF28-EE20-496D-90D0-EE3916CD14AE}">
      <dgm:prSet/>
      <dgm:spPr/>
      <dgm:t>
        <a:bodyPr/>
        <a:lstStyle/>
        <a:p>
          <a:endParaRPr lang="en-US"/>
        </a:p>
      </dgm:t>
    </dgm:pt>
    <dgm:pt modelId="{FCA85121-7DB8-4B2C-A570-AC1742D4D5BE}">
      <dgm:prSet phldrT="[Text]"/>
      <dgm:spPr/>
      <dgm:t>
        <a:bodyPr/>
        <a:lstStyle/>
        <a:p>
          <a:endParaRPr lang="en-US" dirty="0"/>
        </a:p>
      </dgm:t>
    </dgm:pt>
    <dgm:pt modelId="{C972B743-27BD-48A8-ADF7-638C791351FA}" type="parTrans" cxnId="{B22EEAA7-C815-4D17-80B2-1DC011DF2C1B}">
      <dgm:prSet/>
      <dgm:spPr/>
      <dgm:t>
        <a:bodyPr/>
        <a:lstStyle/>
        <a:p>
          <a:endParaRPr lang="en-US"/>
        </a:p>
      </dgm:t>
    </dgm:pt>
    <dgm:pt modelId="{015D5F8A-6A05-485D-AE84-BE52A289E2B4}" type="sibTrans" cxnId="{B22EEAA7-C815-4D17-80B2-1DC011DF2C1B}">
      <dgm:prSet/>
      <dgm:spPr/>
      <dgm:t>
        <a:bodyPr/>
        <a:lstStyle/>
        <a:p>
          <a:endParaRPr lang="en-US"/>
        </a:p>
      </dgm:t>
    </dgm:pt>
    <dgm:pt modelId="{83FFC0A2-03B0-4885-B4D9-EF3FA5FB521F}">
      <dgm:prSet phldrT="[Text]"/>
      <dgm:spPr/>
      <dgm:t>
        <a:bodyPr/>
        <a:lstStyle/>
        <a:p>
          <a:endParaRPr lang="en-US" dirty="0"/>
        </a:p>
      </dgm:t>
    </dgm:pt>
    <dgm:pt modelId="{B6A9C69F-A240-48C4-80F7-FE05ACD9B23B}" type="parTrans" cxnId="{53CBADAE-F9AD-4427-A787-24617F0AF258}">
      <dgm:prSet/>
      <dgm:spPr/>
      <dgm:t>
        <a:bodyPr/>
        <a:lstStyle/>
        <a:p>
          <a:endParaRPr lang="en-US"/>
        </a:p>
      </dgm:t>
    </dgm:pt>
    <dgm:pt modelId="{2A7F143F-D896-42A0-B95F-2E7077FB5390}" type="sibTrans" cxnId="{53CBADAE-F9AD-4427-A787-24617F0AF258}">
      <dgm:prSet/>
      <dgm:spPr/>
      <dgm:t>
        <a:bodyPr/>
        <a:lstStyle/>
        <a:p>
          <a:endParaRPr lang="en-US"/>
        </a:p>
      </dgm:t>
    </dgm:pt>
    <dgm:pt modelId="{2368A222-AF3C-477B-B4D0-2AE163E3DC83}">
      <dgm:prSet phldrT="[Text]"/>
      <dgm:spPr/>
      <dgm:t>
        <a:bodyPr/>
        <a:lstStyle/>
        <a:p>
          <a:endParaRPr lang="en-US" dirty="0"/>
        </a:p>
      </dgm:t>
    </dgm:pt>
    <dgm:pt modelId="{56ED8AC5-F45B-4F34-AE33-F256B063470A}" type="parTrans" cxnId="{B9222390-8DB3-47AF-87BB-62D0C95C0C18}">
      <dgm:prSet/>
      <dgm:spPr/>
      <dgm:t>
        <a:bodyPr/>
        <a:lstStyle/>
        <a:p>
          <a:endParaRPr lang="en-US"/>
        </a:p>
      </dgm:t>
    </dgm:pt>
    <dgm:pt modelId="{071C27E3-234D-420C-B28D-FF96849F45BB}" type="sibTrans" cxnId="{B9222390-8DB3-47AF-87BB-62D0C95C0C18}">
      <dgm:prSet/>
      <dgm:spPr/>
      <dgm:t>
        <a:bodyPr/>
        <a:lstStyle/>
        <a:p>
          <a:endParaRPr lang="en-US"/>
        </a:p>
      </dgm:t>
    </dgm:pt>
    <dgm:pt modelId="{700CF46C-4D96-4374-B0BA-7A56322C78B1}">
      <dgm:prSet phldrT="[Text]"/>
      <dgm:spPr/>
      <dgm:t>
        <a:bodyPr/>
        <a:lstStyle/>
        <a:p>
          <a:endParaRPr lang="en-US" dirty="0"/>
        </a:p>
      </dgm:t>
    </dgm:pt>
    <dgm:pt modelId="{EC7DD582-49A2-4C0F-B8ED-90873905B32B}" type="parTrans" cxnId="{8A39B8B3-A424-40AF-9B2E-4B8BFD1C458E}">
      <dgm:prSet/>
      <dgm:spPr/>
      <dgm:t>
        <a:bodyPr/>
        <a:lstStyle/>
        <a:p>
          <a:endParaRPr lang="en-US"/>
        </a:p>
      </dgm:t>
    </dgm:pt>
    <dgm:pt modelId="{BD0AD765-7832-41C6-AFF5-85DAEA36C510}" type="sibTrans" cxnId="{8A39B8B3-A424-40AF-9B2E-4B8BFD1C458E}">
      <dgm:prSet/>
      <dgm:spPr/>
      <dgm:t>
        <a:bodyPr/>
        <a:lstStyle/>
        <a:p>
          <a:endParaRPr lang="en-US"/>
        </a:p>
      </dgm:t>
    </dgm:pt>
    <dgm:pt modelId="{05EE06FD-4CD8-4592-A9D3-8D068195561C}">
      <dgm:prSet phldrT="[Text]"/>
      <dgm:spPr/>
      <dgm:t>
        <a:bodyPr/>
        <a:lstStyle/>
        <a:p>
          <a:endParaRPr lang="en-US" dirty="0"/>
        </a:p>
      </dgm:t>
    </dgm:pt>
    <dgm:pt modelId="{E259DDF3-F15F-42E7-AED5-350BBC9649E3}" type="parTrans" cxnId="{279F5051-1632-4972-B289-30B3366BD2D8}">
      <dgm:prSet/>
      <dgm:spPr/>
      <dgm:t>
        <a:bodyPr/>
        <a:lstStyle/>
        <a:p>
          <a:endParaRPr lang="en-US"/>
        </a:p>
      </dgm:t>
    </dgm:pt>
    <dgm:pt modelId="{849EA049-9D51-4CCB-9BF5-16CC38D8FB41}" type="sibTrans" cxnId="{279F5051-1632-4972-B289-30B3366BD2D8}">
      <dgm:prSet/>
      <dgm:spPr/>
      <dgm:t>
        <a:bodyPr/>
        <a:lstStyle/>
        <a:p>
          <a:endParaRPr lang="en-US"/>
        </a:p>
      </dgm:t>
    </dgm:pt>
    <dgm:pt modelId="{995580EC-1E91-4FEB-90CB-2357DF76A861}">
      <dgm:prSet phldrT="[Text]"/>
      <dgm:spPr/>
      <dgm:t>
        <a:bodyPr/>
        <a:lstStyle/>
        <a:p>
          <a:endParaRPr lang="en-US" dirty="0"/>
        </a:p>
      </dgm:t>
    </dgm:pt>
    <dgm:pt modelId="{FD37A092-C08F-44CB-B9A6-29D6CD1AB77D}" type="parTrans" cxnId="{BE29245C-01F5-4E09-9A44-CFDD277DF613}">
      <dgm:prSet/>
      <dgm:spPr/>
      <dgm:t>
        <a:bodyPr/>
        <a:lstStyle/>
        <a:p>
          <a:endParaRPr lang="en-US"/>
        </a:p>
      </dgm:t>
    </dgm:pt>
    <dgm:pt modelId="{99A40476-CE85-47CF-A49F-79D5AFAC3EF0}" type="sibTrans" cxnId="{BE29245C-01F5-4E09-9A44-CFDD277DF613}">
      <dgm:prSet/>
      <dgm:spPr/>
      <dgm:t>
        <a:bodyPr/>
        <a:lstStyle/>
        <a:p>
          <a:endParaRPr lang="en-US"/>
        </a:p>
      </dgm:t>
    </dgm:pt>
    <dgm:pt modelId="{79A21355-A08B-420B-B218-5A883648ECC5}" type="pres">
      <dgm:prSet presAssocID="{642B62DA-AB5A-4C73-972A-1B06A84F0630}" presName="composite" presStyleCnt="0">
        <dgm:presLayoutVars>
          <dgm:chMax val="1"/>
          <dgm:dir/>
          <dgm:resizeHandles val="exact"/>
        </dgm:presLayoutVars>
      </dgm:prSet>
      <dgm:spPr/>
    </dgm:pt>
    <dgm:pt modelId="{A19E4524-44EA-4177-BF07-77AC4945FEFE}" type="pres">
      <dgm:prSet presAssocID="{642B62DA-AB5A-4C73-972A-1B06A84F0630}" presName="radial" presStyleCnt="0">
        <dgm:presLayoutVars>
          <dgm:animLvl val="ctr"/>
        </dgm:presLayoutVars>
      </dgm:prSet>
      <dgm:spPr/>
    </dgm:pt>
    <dgm:pt modelId="{7A6A8D27-CF42-4E98-B9B5-2F73294A38CF}" type="pres">
      <dgm:prSet presAssocID="{10947118-239E-4041-A75D-C98B7242DD84}" presName="centerShape" presStyleLbl="vennNode1" presStyleIdx="0" presStyleCnt="8"/>
      <dgm:spPr/>
    </dgm:pt>
    <dgm:pt modelId="{335ADA5E-4F86-41B5-99F4-3F0667140BE1}" type="pres">
      <dgm:prSet presAssocID="{FCA85121-7DB8-4B2C-A570-AC1742D4D5BE}" presName="node" presStyleLbl="vennNode1" presStyleIdx="1" presStyleCnt="8">
        <dgm:presLayoutVars>
          <dgm:bulletEnabled val="1"/>
        </dgm:presLayoutVars>
      </dgm:prSet>
      <dgm:spPr/>
    </dgm:pt>
    <dgm:pt modelId="{4AD9D3C9-124A-4569-9C2D-7FAFC537CCFB}" type="pres">
      <dgm:prSet presAssocID="{83FFC0A2-03B0-4885-B4D9-EF3FA5FB521F}" presName="node" presStyleLbl="vennNode1" presStyleIdx="2" presStyleCnt="8">
        <dgm:presLayoutVars>
          <dgm:bulletEnabled val="1"/>
        </dgm:presLayoutVars>
      </dgm:prSet>
      <dgm:spPr/>
    </dgm:pt>
    <dgm:pt modelId="{D0CE7A17-539C-4570-92E1-A71C7EB92BD9}" type="pres">
      <dgm:prSet presAssocID="{2368A222-AF3C-477B-B4D0-2AE163E3DC83}" presName="node" presStyleLbl="vennNode1" presStyleIdx="3" presStyleCnt="8">
        <dgm:presLayoutVars>
          <dgm:bulletEnabled val="1"/>
        </dgm:presLayoutVars>
      </dgm:prSet>
      <dgm:spPr/>
    </dgm:pt>
    <dgm:pt modelId="{9F1B5868-6BCE-4C7F-B498-2AC05F07BCA3}" type="pres">
      <dgm:prSet presAssocID="{700CF46C-4D96-4374-B0BA-7A56322C78B1}" presName="node" presStyleLbl="vennNode1" presStyleIdx="4" presStyleCnt="8">
        <dgm:presLayoutVars>
          <dgm:bulletEnabled val="1"/>
        </dgm:presLayoutVars>
      </dgm:prSet>
      <dgm:spPr/>
    </dgm:pt>
    <dgm:pt modelId="{5BA96876-142B-425C-8F42-1BA975F4A54D}" type="pres">
      <dgm:prSet presAssocID="{05EE06FD-4CD8-4592-A9D3-8D068195561C}" presName="node" presStyleLbl="vennNode1" presStyleIdx="5" presStyleCnt="8">
        <dgm:presLayoutVars>
          <dgm:bulletEnabled val="1"/>
        </dgm:presLayoutVars>
      </dgm:prSet>
      <dgm:spPr/>
    </dgm:pt>
    <dgm:pt modelId="{D6A2DD70-1874-4E76-B2D9-D4A161B2D94C}" type="pres">
      <dgm:prSet presAssocID="{995580EC-1E91-4FEB-90CB-2357DF76A861}" presName="node" presStyleLbl="vennNode1" presStyleIdx="6" presStyleCnt="8">
        <dgm:presLayoutVars>
          <dgm:bulletEnabled val="1"/>
        </dgm:presLayoutVars>
      </dgm:prSet>
      <dgm:spPr/>
    </dgm:pt>
    <dgm:pt modelId="{3E83E68B-3F04-4E52-B190-5265EB902D50}" type="pres">
      <dgm:prSet presAssocID="{D5E7732A-228F-43A8-9483-5FC8804E8C2E}" presName="node" presStyleLbl="vennNode1" presStyleIdx="7" presStyleCnt="8">
        <dgm:presLayoutVars>
          <dgm:bulletEnabled val="1"/>
        </dgm:presLayoutVars>
      </dgm:prSet>
      <dgm:spPr/>
    </dgm:pt>
  </dgm:ptLst>
  <dgm:cxnLst>
    <dgm:cxn modelId="{E5075A17-3610-41FE-84CE-81D0FC03FAE6}" type="presOf" srcId="{10947118-239E-4041-A75D-C98B7242DD84}" destId="{7A6A8D27-CF42-4E98-B9B5-2F73294A38CF}" srcOrd="0" destOrd="0" presId="urn:microsoft.com/office/officeart/2005/8/layout/radial3"/>
    <dgm:cxn modelId="{FF5D8017-84BC-4B5B-AD17-2C03987806DE}" type="presOf" srcId="{995580EC-1E91-4FEB-90CB-2357DF76A861}" destId="{D6A2DD70-1874-4E76-B2D9-D4A161B2D94C}" srcOrd="0" destOrd="0" presId="urn:microsoft.com/office/officeart/2005/8/layout/radial3"/>
    <dgm:cxn modelId="{241FCF28-EE20-496D-90D0-EE3916CD14AE}" srcId="{10947118-239E-4041-A75D-C98B7242DD84}" destId="{D5E7732A-228F-43A8-9483-5FC8804E8C2E}" srcOrd="6" destOrd="0" parTransId="{9AF1BCE7-2EFA-47C9-B110-FCABA114C23A}" sibTransId="{019415EA-AADA-4A68-973B-BDD253656A80}"/>
    <dgm:cxn modelId="{2D328A33-A0A9-4384-8C54-1DFE8165B8F5}" type="presOf" srcId="{FCA85121-7DB8-4B2C-A570-AC1742D4D5BE}" destId="{335ADA5E-4F86-41B5-99F4-3F0667140BE1}" srcOrd="0" destOrd="0" presId="urn:microsoft.com/office/officeart/2005/8/layout/radial3"/>
    <dgm:cxn modelId="{BE29245C-01F5-4E09-9A44-CFDD277DF613}" srcId="{10947118-239E-4041-A75D-C98B7242DD84}" destId="{995580EC-1E91-4FEB-90CB-2357DF76A861}" srcOrd="5" destOrd="0" parTransId="{FD37A092-C08F-44CB-B9A6-29D6CD1AB77D}" sibTransId="{99A40476-CE85-47CF-A49F-79D5AFAC3EF0}"/>
    <dgm:cxn modelId="{279F5051-1632-4972-B289-30B3366BD2D8}" srcId="{10947118-239E-4041-A75D-C98B7242DD84}" destId="{05EE06FD-4CD8-4592-A9D3-8D068195561C}" srcOrd="4" destOrd="0" parTransId="{E259DDF3-F15F-42E7-AED5-350BBC9649E3}" sibTransId="{849EA049-9D51-4CCB-9BF5-16CC38D8FB41}"/>
    <dgm:cxn modelId="{DBC62452-7018-425B-835F-8BE8DEDA7305}" type="presOf" srcId="{642B62DA-AB5A-4C73-972A-1B06A84F0630}" destId="{79A21355-A08B-420B-B218-5A883648ECC5}" srcOrd="0" destOrd="0" presId="urn:microsoft.com/office/officeart/2005/8/layout/radial3"/>
    <dgm:cxn modelId="{B9222390-8DB3-47AF-87BB-62D0C95C0C18}" srcId="{10947118-239E-4041-A75D-C98B7242DD84}" destId="{2368A222-AF3C-477B-B4D0-2AE163E3DC83}" srcOrd="2" destOrd="0" parTransId="{56ED8AC5-F45B-4F34-AE33-F256B063470A}" sibTransId="{071C27E3-234D-420C-B28D-FF96849F45BB}"/>
    <dgm:cxn modelId="{B22EEAA7-C815-4D17-80B2-1DC011DF2C1B}" srcId="{10947118-239E-4041-A75D-C98B7242DD84}" destId="{FCA85121-7DB8-4B2C-A570-AC1742D4D5BE}" srcOrd="0" destOrd="0" parTransId="{C972B743-27BD-48A8-ADF7-638C791351FA}" sibTransId="{015D5F8A-6A05-485D-AE84-BE52A289E2B4}"/>
    <dgm:cxn modelId="{53CBADAE-F9AD-4427-A787-24617F0AF258}" srcId="{10947118-239E-4041-A75D-C98B7242DD84}" destId="{83FFC0A2-03B0-4885-B4D9-EF3FA5FB521F}" srcOrd="1" destOrd="0" parTransId="{B6A9C69F-A240-48C4-80F7-FE05ACD9B23B}" sibTransId="{2A7F143F-D896-42A0-B95F-2E7077FB5390}"/>
    <dgm:cxn modelId="{7B53CDB1-E7BA-434B-92E1-6F1ED3A130DC}" type="presOf" srcId="{05EE06FD-4CD8-4592-A9D3-8D068195561C}" destId="{5BA96876-142B-425C-8F42-1BA975F4A54D}" srcOrd="0" destOrd="0" presId="urn:microsoft.com/office/officeart/2005/8/layout/radial3"/>
    <dgm:cxn modelId="{8A39B8B3-A424-40AF-9B2E-4B8BFD1C458E}" srcId="{10947118-239E-4041-A75D-C98B7242DD84}" destId="{700CF46C-4D96-4374-B0BA-7A56322C78B1}" srcOrd="3" destOrd="0" parTransId="{EC7DD582-49A2-4C0F-B8ED-90873905B32B}" sibTransId="{BD0AD765-7832-41C6-AFF5-85DAEA36C510}"/>
    <dgm:cxn modelId="{3F9858BF-E95B-4B86-8765-D76FE242F6DF}" srcId="{642B62DA-AB5A-4C73-972A-1B06A84F0630}" destId="{10947118-239E-4041-A75D-C98B7242DD84}" srcOrd="0" destOrd="0" parTransId="{954DA2A0-FBE5-4450-92CA-6054E27AA6D5}" sibTransId="{D44C6049-268E-4EA1-BF85-7D1C1BB43EB3}"/>
    <dgm:cxn modelId="{C49213CB-0E9E-4C9E-B57A-995B2DE79EAB}" type="presOf" srcId="{2368A222-AF3C-477B-B4D0-2AE163E3DC83}" destId="{D0CE7A17-539C-4570-92E1-A71C7EB92BD9}" srcOrd="0" destOrd="0" presId="urn:microsoft.com/office/officeart/2005/8/layout/radial3"/>
    <dgm:cxn modelId="{DF5511CD-0636-4A73-A782-31A933334A22}" type="presOf" srcId="{700CF46C-4D96-4374-B0BA-7A56322C78B1}" destId="{9F1B5868-6BCE-4C7F-B498-2AC05F07BCA3}" srcOrd="0" destOrd="0" presId="urn:microsoft.com/office/officeart/2005/8/layout/radial3"/>
    <dgm:cxn modelId="{1620CCE7-D04E-4C5E-9063-B3CC8318C501}" type="presOf" srcId="{83FFC0A2-03B0-4885-B4D9-EF3FA5FB521F}" destId="{4AD9D3C9-124A-4569-9C2D-7FAFC537CCFB}" srcOrd="0" destOrd="0" presId="urn:microsoft.com/office/officeart/2005/8/layout/radial3"/>
    <dgm:cxn modelId="{201961EA-4409-4D65-BB9B-6E3CFA9977F4}" type="presOf" srcId="{D5E7732A-228F-43A8-9483-5FC8804E8C2E}" destId="{3E83E68B-3F04-4E52-B190-5265EB902D50}" srcOrd="0" destOrd="0" presId="urn:microsoft.com/office/officeart/2005/8/layout/radial3"/>
    <dgm:cxn modelId="{63E68BC7-A97A-4781-8960-B1F1ED1A3DF4}" type="presParOf" srcId="{79A21355-A08B-420B-B218-5A883648ECC5}" destId="{A19E4524-44EA-4177-BF07-77AC4945FEFE}" srcOrd="0" destOrd="0" presId="urn:microsoft.com/office/officeart/2005/8/layout/radial3"/>
    <dgm:cxn modelId="{48ED5A05-FD33-4DE8-AFE0-F69E7767E859}" type="presParOf" srcId="{A19E4524-44EA-4177-BF07-77AC4945FEFE}" destId="{7A6A8D27-CF42-4E98-B9B5-2F73294A38CF}" srcOrd="0" destOrd="0" presId="urn:microsoft.com/office/officeart/2005/8/layout/radial3"/>
    <dgm:cxn modelId="{6CBB6628-02D3-47E1-B148-DA8E47028601}" type="presParOf" srcId="{A19E4524-44EA-4177-BF07-77AC4945FEFE}" destId="{335ADA5E-4F86-41B5-99F4-3F0667140BE1}" srcOrd="1" destOrd="0" presId="urn:microsoft.com/office/officeart/2005/8/layout/radial3"/>
    <dgm:cxn modelId="{66338471-0540-4DC8-9A45-FA2BF9B733E1}" type="presParOf" srcId="{A19E4524-44EA-4177-BF07-77AC4945FEFE}" destId="{4AD9D3C9-124A-4569-9C2D-7FAFC537CCFB}" srcOrd="2" destOrd="0" presId="urn:microsoft.com/office/officeart/2005/8/layout/radial3"/>
    <dgm:cxn modelId="{D47445E9-4880-4DEE-8E4F-BE3616226D51}" type="presParOf" srcId="{A19E4524-44EA-4177-BF07-77AC4945FEFE}" destId="{D0CE7A17-539C-4570-92E1-A71C7EB92BD9}" srcOrd="3" destOrd="0" presId="urn:microsoft.com/office/officeart/2005/8/layout/radial3"/>
    <dgm:cxn modelId="{C76F308B-31A8-4748-A927-1C1E66F7EBFE}" type="presParOf" srcId="{A19E4524-44EA-4177-BF07-77AC4945FEFE}" destId="{9F1B5868-6BCE-4C7F-B498-2AC05F07BCA3}" srcOrd="4" destOrd="0" presId="urn:microsoft.com/office/officeart/2005/8/layout/radial3"/>
    <dgm:cxn modelId="{ED444669-5328-4FD2-B27F-A372E06A6C7C}" type="presParOf" srcId="{A19E4524-44EA-4177-BF07-77AC4945FEFE}" destId="{5BA96876-142B-425C-8F42-1BA975F4A54D}" srcOrd="5" destOrd="0" presId="urn:microsoft.com/office/officeart/2005/8/layout/radial3"/>
    <dgm:cxn modelId="{1BFA1F3D-C82B-4665-98C6-20E464A46BC9}" type="presParOf" srcId="{A19E4524-44EA-4177-BF07-77AC4945FEFE}" destId="{D6A2DD70-1874-4E76-B2D9-D4A161B2D94C}" srcOrd="6" destOrd="0" presId="urn:microsoft.com/office/officeart/2005/8/layout/radial3"/>
    <dgm:cxn modelId="{5263A034-5E2D-4982-A4BF-4F5C3479D02E}" type="presParOf" srcId="{A19E4524-44EA-4177-BF07-77AC4945FEFE}" destId="{3E83E68B-3F04-4E52-B190-5265EB902D50}" srcOrd="7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1A228D3-AC51-408A-9E6E-9E42FB2CEDA8}" type="doc">
      <dgm:prSet loTypeId="urn:microsoft.com/office/officeart/2005/8/layout/radial1" loCatId="cycl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8E302F93-6E12-46BE-A879-2CEDDA77D5AD}">
      <dgm:prSet phldrT="[Text]"/>
      <dgm:spPr/>
      <dgm:t>
        <a:bodyPr/>
        <a:lstStyle/>
        <a:p>
          <a:r>
            <a:rPr lang="en-US" dirty="0"/>
            <a:t>Bank A Blockchain</a:t>
          </a:r>
        </a:p>
      </dgm:t>
    </dgm:pt>
    <dgm:pt modelId="{500E2EE8-D4F4-4C01-A2D3-6E33953D0802}" type="parTrans" cxnId="{58073A57-64CC-4519-9913-58A815B89A56}">
      <dgm:prSet/>
      <dgm:spPr/>
      <dgm:t>
        <a:bodyPr/>
        <a:lstStyle/>
        <a:p>
          <a:endParaRPr lang="en-US"/>
        </a:p>
      </dgm:t>
    </dgm:pt>
    <dgm:pt modelId="{ACFE66BA-99C2-4D4D-8D50-C12C00383CE6}" type="sibTrans" cxnId="{58073A57-64CC-4519-9913-58A815B89A56}">
      <dgm:prSet/>
      <dgm:spPr/>
      <dgm:t>
        <a:bodyPr/>
        <a:lstStyle/>
        <a:p>
          <a:endParaRPr lang="en-US"/>
        </a:p>
      </dgm:t>
    </dgm:pt>
    <dgm:pt modelId="{A506275B-FAB3-47C3-8A4F-D8E5C27DB4F4}">
      <dgm:prSet phldrT="[Text]"/>
      <dgm:spPr/>
      <dgm:t>
        <a:bodyPr/>
        <a:lstStyle/>
        <a:p>
          <a:endParaRPr lang="en-US" dirty="0"/>
        </a:p>
      </dgm:t>
    </dgm:pt>
    <dgm:pt modelId="{DCEED4EB-86D9-4116-A8B0-F74832192DB2}" type="parTrans" cxnId="{57F724FD-C47A-4AAA-B7A7-0B3C526A1FD5}">
      <dgm:prSet/>
      <dgm:spPr/>
      <dgm:t>
        <a:bodyPr/>
        <a:lstStyle/>
        <a:p>
          <a:endParaRPr lang="en-US"/>
        </a:p>
      </dgm:t>
    </dgm:pt>
    <dgm:pt modelId="{9EDCD2F6-FA85-47AC-98ED-B8A5E84D17E1}" type="sibTrans" cxnId="{57F724FD-C47A-4AAA-B7A7-0B3C526A1FD5}">
      <dgm:prSet/>
      <dgm:spPr/>
      <dgm:t>
        <a:bodyPr/>
        <a:lstStyle/>
        <a:p>
          <a:endParaRPr lang="en-US"/>
        </a:p>
      </dgm:t>
    </dgm:pt>
    <dgm:pt modelId="{E35FF246-067F-42FF-B6BF-0D91A344C2FD}">
      <dgm:prSet phldrT="[Text]"/>
      <dgm:spPr/>
      <dgm:t>
        <a:bodyPr/>
        <a:lstStyle/>
        <a:p>
          <a:endParaRPr lang="en-US" dirty="0"/>
        </a:p>
      </dgm:t>
    </dgm:pt>
    <dgm:pt modelId="{59691949-F712-4782-BD84-57F7F2FED12B}" type="parTrans" cxnId="{619A776E-907E-469E-BF40-EA8B2BCA3F7C}">
      <dgm:prSet/>
      <dgm:spPr/>
      <dgm:t>
        <a:bodyPr/>
        <a:lstStyle/>
        <a:p>
          <a:endParaRPr lang="en-US"/>
        </a:p>
      </dgm:t>
    </dgm:pt>
    <dgm:pt modelId="{404F4FEB-0029-4C07-9572-3F19C409DC1C}" type="sibTrans" cxnId="{619A776E-907E-469E-BF40-EA8B2BCA3F7C}">
      <dgm:prSet/>
      <dgm:spPr/>
      <dgm:t>
        <a:bodyPr/>
        <a:lstStyle/>
        <a:p>
          <a:endParaRPr lang="en-US"/>
        </a:p>
      </dgm:t>
    </dgm:pt>
    <dgm:pt modelId="{17979DD6-2147-497C-A1BE-508EE5CF4179}">
      <dgm:prSet phldrT="[Text]"/>
      <dgm:spPr/>
      <dgm:t>
        <a:bodyPr/>
        <a:lstStyle/>
        <a:p>
          <a:endParaRPr lang="en-US" dirty="0"/>
        </a:p>
      </dgm:t>
    </dgm:pt>
    <dgm:pt modelId="{2321FC99-6440-4F50-B538-E76DDD5D60AB}" type="parTrans" cxnId="{FD721262-4D96-4A21-9D83-4CA62A69C9F2}">
      <dgm:prSet/>
      <dgm:spPr/>
      <dgm:t>
        <a:bodyPr/>
        <a:lstStyle/>
        <a:p>
          <a:endParaRPr lang="en-US"/>
        </a:p>
      </dgm:t>
    </dgm:pt>
    <dgm:pt modelId="{EC5261CF-9C2C-4528-9819-EC0C902E3D40}" type="sibTrans" cxnId="{FD721262-4D96-4A21-9D83-4CA62A69C9F2}">
      <dgm:prSet/>
      <dgm:spPr/>
      <dgm:t>
        <a:bodyPr/>
        <a:lstStyle/>
        <a:p>
          <a:endParaRPr lang="en-US"/>
        </a:p>
      </dgm:t>
    </dgm:pt>
    <dgm:pt modelId="{85D3F71C-3D53-401D-BAA1-C4AFBE623530}">
      <dgm:prSet phldrT="[Text]"/>
      <dgm:spPr/>
      <dgm:t>
        <a:bodyPr/>
        <a:lstStyle/>
        <a:p>
          <a:endParaRPr lang="en-US" dirty="0"/>
        </a:p>
      </dgm:t>
    </dgm:pt>
    <dgm:pt modelId="{CE6327CA-8813-4523-8ED8-245A41FDF76E}" type="parTrans" cxnId="{D8C64704-5BC3-4D12-803C-36112EA5EBD4}">
      <dgm:prSet/>
      <dgm:spPr/>
      <dgm:t>
        <a:bodyPr/>
        <a:lstStyle/>
        <a:p>
          <a:endParaRPr lang="en-US"/>
        </a:p>
      </dgm:t>
    </dgm:pt>
    <dgm:pt modelId="{6BA375C2-4C49-44A8-9519-648792643089}" type="sibTrans" cxnId="{D8C64704-5BC3-4D12-803C-36112EA5EBD4}">
      <dgm:prSet/>
      <dgm:spPr/>
      <dgm:t>
        <a:bodyPr/>
        <a:lstStyle/>
        <a:p>
          <a:endParaRPr lang="en-US"/>
        </a:p>
      </dgm:t>
    </dgm:pt>
    <dgm:pt modelId="{2EFFAF41-E353-45FF-974D-7DD9590308A1}">
      <dgm:prSet phldrT="[Text]"/>
      <dgm:spPr/>
      <dgm:t>
        <a:bodyPr/>
        <a:lstStyle/>
        <a:p>
          <a:endParaRPr lang="en-US" dirty="0"/>
        </a:p>
      </dgm:t>
    </dgm:pt>
    <dgm:pt modelId="{4CDCFCD9-18E2-496A-910C-A71DB5E2BF22}" type="parTrans" cxnId="{5A33FE6B-E6B1-4A36-958A-D350380924E7}">
      <dgm:prSet/>
      <dgm:spPr/>
      <dgm:t>
        <a:bodyPr/>
        <a:lstStyle/>
        <a:p>
          <a:endParaRPr lang="en-US"/>
        </a:p>
      </dgm:t>
    </dgm:pt>
    <dgm:pt modelId="{AAF9CB9E-CA7B-433D-A697-48E1D1669CAD}" type="sibTrans" cxnId="{5A33FE6B-E6B1-4A36-958A-D350380924E7}">
      <dgm:prSet/>
      <dgm:spPr/>
      <dgm:t>
        <a:bodyPr/>
        <a:lstStyle/>
        <a:p>
          <a:endParaRPr lang="en-US"/>
        </a:p>
      </dgm:t>
    </dgm:pt>
    <dgm:pt modelId="{4FD419F3-9268-4188-8CEA-B68FFB30711E}">
      <dgm:prSet phldrT="[Text]"/>
      <dgm:spPr/>
      <dgm:t>
        <a:bodyPr/>
        <a:lstStyle/>
        <a:p>
          <a:endParaRPr lang="en-US" dirty="0"/>
        </a:p>
      </dgm:t>
    </dgm:pt>
    <dgm:pt modelId="{9B0A3AD9-514D-48B0-9189-BC0458F33665}" type="parTrans" cxnId="{9DB7A872-7CC3-4FC0-A740-C414F6C910B2}">
      <dgm:prSet/>
      <dgm:spPr/>
      <dgm:t>
        <a:bodyPr/>
        <a:lstStyle/>
        <a:p>
          <a:endParaRPr lang="en-US"/>
        </a:p>
      </dgm:t>
    </dgm:pt>
    <dgm:pt modelId="{7EB2D56E-71AF-4F6A-A14F-E8F7BFCC7AAB}" type="sibTrans" cxnId="{9DB7A872-7CC3-4FC0-A740-C414F6C910B2}">
      <dgm:prSet/>
      <dgm:spPr/>
      <dgm:t>
        <a:bodyPr/>
        <a:lstStyle/>
        <a:p>
          <a:endParaRPr lang="en-US"/>
        </a:p>
      </dgm:t>
    </dgm:pt>
    <dgm:pt modelId="{9B341D05-4C57-46F5-8640-968A36A3F49D}">
      <dgm:prSet phldrT="[Text]"/>
      <dgm:spPr/>
      <dgm:t>
        <a:bodyPr/>
        <a:lstStyle/>
        <a:p>
          <a:endParaRPr lang="en-US" dirty="0"/>
        </a:p>
      </dgm:t>
    </dgm:pt>
    <dgm:pt modelId="{5D34FC84-1B85-428E-B04D-4B1C2DF5E457}" type="parTrans" cxnId="{A218654E-74E4-4E60-8632-90CD74DDBBC8}">
      <dgm:prSet/>
      <dgm:spPr/>
      <dgm:t>
        <a:bodyPr/>
        <a:lstStyle/>
        <a:p>
          <a:endParaRPr lang="en-US"/>
        </a:p>
      </dgm:t>
    </dgm:pt>
    <dgm:pt modelId="{086F2770-BD69-4CE6-811A-B1B8B10FEE39}" type="sibTrans" cxnId="{A218654E-74E4-4E60-8632-90CD74DDBBC8}">
      <dgm:prSet/>
      <dgm:spPr/>
      <dgm:t>
        <a:bodyPr/>
        <a:lstStyle/>
        <a:p>
          <a:endParaRPr lang="en-US"/>
        </a:p>
      </dgm:t>
    </dgm:pt>
    <dgm:pt modelId="{76DEAE3D-3B64-48A8-A6FA-AF14A4708C25}">
      <dgm:prSet phldrT="[Text]"/>
      <dgm:spPr/>
      <dgm:t>
        <a:bodyPr/>
        <a:lstStyle/>
        <a:p>
          <a:endParaRPr lang="en-US" dirty="0"/>
        </a:p>
      </dgm:t>
    </dgm:pt>
    <dgm:pt modelId="{3B3C611B-A1A0-4B00-A8DF-C85FF4134FFB}" type="parTrans" cxnId="{4935B676-A1A8-4FA8-A352-A8EBA91F4A33}">
      <dgm:prSet/>
      <dgm:spPr/>
      <dgm:t>
        <a:bodyPr/>
        <a:lstStyle/>
        <a:p>
          <a:endParaRPr lang="en-US"/>
        </a:p>
      </dgm:t>
    </dgm:pt>
    <dgm:pt modelId="{0AE0CFEA-053E-46E3-ACA0-70A0C187FEAF}" type="sibTrans" cxnId="{4935B676-A1A8-4FA8-A352-A8EBA91F4A33}">
      <dgm:prSet/>
      <dgm:spPr/>
      <dgm:t>
        <a:bodyPr/>
        <a:lstStyle/>
        <a:p>
          <a:endParaRPr lang="en-US"/>
        </a:p>
      </dgm:t>
    </dgm:pt>
    <dgm:pt modelId="{5E72B600-6EA8-4C71-A833-676D146AF239}" type="pres">
      <dgm:prSet presAssocID="{01A228D3-AC51-408A-9E6E-9E42FB2CEDA8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16256A03-80C0-4C6A-94DC-C4C69DD9F6CF}" type="pres">
      <dgm:prSet presAssocID="{8E302F93-6E12-46BE-A879-2CEDDA77D5AD}" presName="centerShape" presStyleLbl="node0" presStyleIdx="0" presStyleCnt="1"/>
      <dgm:spPr/>
    </dgm:pt>
    <dgm:pt modelId="{7A9C44C7-B3C2-44C4-A798-3FBC8B51CDFD}" type="pres">
      <dgm:prSet presAssocID="{59691949-F712-4782-BD84-57F7F2FED12B}" presName="Name9" presStyleLbl="parChTrans1D2" presStyleIdx="0" presStyleCnt="8"/>
      <dgm:spPr/>
    </dgm:pt>
    <dgm:pt modelId="{B1E0C29F-E828-4990-9344-569F8FDE8DA9}" type="pres">
      <dgm:prSet presAssocID="{59691949-F712-4782-BD84-57F7F2FED12B}" presName="connTx" presStyleLbl="parChTrans1D2" presStyleIdx="0" presStyleCnt="8"/>
      <dgm:spPr/>
    </dgm:pt>
    <dgm:pt modelId="{6FA2A97F-91D4-4A01-B057-35B1176C573F}" type="pres">
      <dgm:prSet presAssocID="{E35FF246-067F-42FF-B6BF-0D91A344C2FD}" presName="node" presStyleLbl="node1" presStyleIdx="0" presStyleCnt="8">
        <dgm:presLayoutVars>
          <dgm:bulletEnabled val="1"/>
        </dgm:presLayoutVars>
      </dgm:prSet>
      <dgm:spPr/>
    </dgm:pt>
    <dgm:pt modelId="{A698A8B3-B48B-4D88-AF1B-E343259706D6}" type="pres">
      <dgm:prSet presAssocID="{2321FC99-6440-4F50-B538-E76DDD5D60AB}" presName="Name9" presStyleLbl="parChTrans1D2" presStyleIdx="1" presStyleCnt="8"/>
      <dgm:spPr/>
    </dgm:pt>
    <dgm:pt modelId="{B20C985D-CF71-4DA9-A2A6-E3AC30AACABA}" type="pres">
      <dgm:prSet presAssocID="{2321FC99-6440-4F50-B538-E76DDD5D60AB}" presName="connTx" presStyleLbl="parChTrans1D2" presStyleIdx="1" presStyleCnt="8"/>
      <dgm:spPr/>
    </dgm:pt>
    <dgm:pt modelId="{081A3DC4-7E49-455E-921E-F8E5338D1983}" type="pres">
      <dgm:prSet presAssocID="{17979DD6-2147-497C-A1BE-508EE5CF4179}" presName="node" presStyleLbl="node1" presStyleIdx="1" presStyleCnt="8">
        <dgm:presLayoutVars>
          <dgm:bulletEnabled val="1"/>
        </dgm:presLayoutVars>
      </dgm:prSet>
      <dgm:spPr/>
    </dgm:pt>
    <dgm:pt modelId="{08A33A8F-CB04-4577-A318-3386E6C343CD}" type="pres">
      <dgm:prSet presAssocID="{CE6327CA-8813-4523-8ED8-245A41FDF76E}" presName="Name9" presStyleLbl="parChTrans1D2" presStyleIdx="2" presStyleCnt="8"/>
      <dgm:spPr/>
    </dgm:pt>
    <dgm:pt modelId="{E8AA51BB-FBAA-46BF-A75C-23DE842F5866}" type="pres">
      <dgm:prSet presAssocID="{CE6327CA-8813-4523-8ED8-245A41FDF76E}" presName="connTx" presStyleLbl="parChTrans1D2" presStyleIdx="2" presStyleCnt="8"/>
      <dgm:spPr/>
    </dgm:pt>
    <dgm:pt modelId="{06007D82-9D38-4434-AD86-C018B57B65E8}" type="pres">
      <dgm:prSet presAssocID="{85D3F71C-3D53-401D-BAA1-C4AFBE623530}" presName="node" presStyleLbl="node1" presStyleIdx="2" presStyleCnt="8">
        <dgm:presLayoutVars>
          <dgm:bulletEnabled val="1"/>
        </dgm:presLayoutVars>
      </dgm:prSet>
      <dgm:spPr/>
    </dgm:pt>
    <dgm:pt modelId="{688F6D16-E17C-452B-9BE7-B762AD060BCC}" type="pres">
      <dgm:prSet presAssocID="{4CDCFCD9-18E2-496A-910C-A71DB5E2BF22}" presName="Name9" presStyleLbl="parChTrans1D2" presStyleIdx="3" presStyleCnt="8"/>
      <dgm:spPr/>
    </dgm:pt>
    <dgm:pt modelId="{99CA7C71-94E0-406A-8EA1-5FBF187ADC0C}" type="pres">
      <dgm:prSet presAssocID="{4CDCFCD9-18E2-496A-910C-A71DB5E2BF22}" presName="connTx" presStyleLbl="parChTrans1D2" presStyleIdx="3" presStyleCnt="8"/>
      <dgm:spPr/>
    </dgm:pt>
    <dgm:pt modelId="{35ED664C-4A36-438C-A54E-3D63555F93B7}" type="pres">
      <dgm:prSet presAssocID="{2EFFAF41-E353-45FF-974D-7DD9590308A1}" presName="node" presStyleLbl="node1" presStyleIdx="3" presStyleCnt="8">
        <dgm:presLayoutVars>
          <dgm:bulletEnabled val="1"/>
        </dgm:presLayoutVars>
      </dgm:prSet>
      <dgm:spPr/>
    </dgm:pt>
    <dgm:pt modelId="{8E13B68C-3CEE-453D-811D-9D23CF8FED09}" type="pres">
      <dgm:prSet presAssocID="{9B0A3AD9-514D-48B0-9189-BC0458F33665}" presName="Name9" presStyleLbl="parChTrans1D2" presStyleIdx="4" presStyleCnt="8"/>
      <dgm:spPr/>
    </dgm:pt>
    <dgm:pt modelId="{74D2C88E-384E-4A88-9578-83839222E1FA}" type="pres">
      <dgm:prSet presAssocID="{9B0A3AD9-514D-48B0-9189-BC0458F33665}" presName="connTx" presStyleLbl="parChTrans1D2" presStyleIdx="4" presStyleCnt="8"/>
      <dgm:spPr/>
    </dgm:pt>
    <dgm:pt modelId="{8282F88C-B573-433A-8797-D7175B143E0F}" type="pres">
      <dgm:prSet presAssocID="{4FD419F3-9268-4188-8CEA-B68FFB30711E}" presName="node" presStyleLbl="node1" presStyleIdx="4" presStyleCnt="8">
        <dgm:presLayoutVars>
          <dgm:bulletEnabled val="1"/>
        </dgm:presLayoutVars>
      </dgm:prSet>
      <dgm:spPr/>
    </dgm:pt>
    <dgm:pt modelId="{BCEECC05-4FAE-43C8-B34B-64CDCE3CA549}" type="pres">
      <dgm:prSet presAssocID="{5D34FC84-1B85-428E-B04D-4B1C2DF5E457}" presName="Name9" presStyleLbl="parChTrans1D2" presStyleIdx="5" presStyleCnt="8"/>
      <dgm:spPr/>
    </dgm:pt>
    <dgm:pt modelId="{5B0EFAC8-4065-455A-83BB-722BFD19C3E3}" type="pres">
      <dgm:prSet presAssocID="{5D34FC84-1B85-428E-B04D-4B1C2DF5E457}" presName="connTx" presStyleLbl="parChTrans1D2" presStyleIdx="5" presStyleCnt="8"/>
      <dgm:spPr/>
    </dgm:pt>
    <dgm:pt modelId="{4C307B13-5F61-40A0-BEA0-48DFF34BF35B}" type="pres">
      <dgm:prSet presAssocID="{9B341D05-4C57-46F5-8640-968A36A3F49D}" presName="node" presStyleLbl="node1" presStyleIdx="5" presStyleCnt="8">
        <dgm:presLayoutVars>
          <dgm:bulletEnabled val="1"/>
        </dgm:presLayoutVars>
      </dgm:prSet>
      <dgm:spPr/>
    </dgm:pt>
    <dgm:pt modelId="{5F489143-001C-4E3E-9D91-06082D4F48B9}" type="pres">
      <dgm:prSet presAssocID="{3B3C611B-A1A0-4B00-A8DF-C85FF4134FFB}" presName="Name9" presStyleLbl="parChTrans1D2" presStyleIdx="6" presStyleCnt="8"/>
      <dgm:spPr/>
    </dgm:pt>
    <dgm:pt modelId="{C87BB3F5-AE67-43B2-92E6-C3A532A900F1}" type="pres">
      <dgm:prSet presAssocID="{3B3C611B-A1A0-4B00-A8DF-C85FF4134FFB}" presName="connTx" presStyleLbl="parChTrans1D2" presStyleIdx="6" presStyleCnt="8"/>
      <dgm:spPr/>
    </dgm:pt>
    <dgm:pt modelId="{0A20789F-74AA-4FED-810B-771F6648E3DD}" type="pres">
      <dgm:prSet presAssocID="{76DEAE3D-3B64-48A8-A6FA-AF14A4708C25}" presName="node" presStyleLbl="node1" presStyleIdx="6" presStyleCnt="8">
        <dgm:presLayoutVars>
          <dgm:bulletEnabled val="1"/>
        </dgm:presLayoutVars>
      </dgm:prSet>
      <dgm:spPr/>
    </dgm:pt>
    <dgm:pt modelId="{4D69694C-89B4-484E-AAA2-263DEC7B88A2}" type="pres">
      <dgm:prSet presAssocID="{DCEED4EB-86D9-4116-A8B0-F74832192DB2}" presName="Name9" presStyleLbl="parChTrans1D2" presStyleIdx="7" presStyleCnt="8"/>
      <dgm:spPr/>
    </dgm:pt>
    <dgm:pt modelId="{1A93C7DC-8339-40A2-B351-AAAB19312949}" type="pres">
      <dgm:prSet presAssocID="{DCEED4EB-86D9-4116-A8B0-F74832192DB2}" presName="connTx" presStyleLbl="parChTrans1D2" presStyleIdx="7" presStyleCnt="8"/>
      <dgm:spPr/>
    </dgm:pt>
    <dgm:pt modelId="{6653509E-23B0-4FD3-ADD3-17344061F42D}" type="pres">
      <dgm:prSet presAssocID="{A506275B-FAB3-47C3-8A4F-D8E5C27DB4F4}" presName="node" presStyleLbl="node1" presStyleIdx="7" presStyleCnt="8">
        <dgm:presLayoutVars>
          <dgm:bulletEnabled val="1"/>
        </dgm:presLayoutVars>
      </dgm:prSet>
      <dgm:spPr/>
    </dgm:pt>
  </dgm:ptLst>
  <dgm:cxnLst>
    <dgm:cxn modelId="{25615403-D130-4F8B-BA2A-07027B2DA41F}" type="presOf" srcId="{A506275B-FAB3-47C3-8A4F-D8E5C27DB4F4}" destId="{6653509E-23B0-4FD3-ADD3-17344061F42D}" srcOrd="0" destOrd="0" presId="urn:microsoft.com/office/officeart/2005/8/layout/radial1"/>
    <dgm:cxn modelId="{D8C64704-5BC3-4D12-803C-36112EA5EBD4}" srcId="{8E302F93-6E12-46BE-A879-2CEDDA77D5AD}" destId="{85D3F71C-3D53-401D-BAA1-C4AFBE623530}" srcOrd="2" destOrd="0" parTransId="{CE6327CA-8813-4523-8ED8-245A41FDF76E}" sibTransId="{6BA375C2-4C49-44A8-9519-648792643089}"/>
    <dgm:cxn modelId="{CCE8C009-37AB-4EB9-8BF1-BBFEC8E63134}" type="presOf" srcId="{CE6327CA-8813-4523-8ED8-245A41FDF76E}" destId="{08A33A8F-CB04-4577-A318-3386E6C343CD}" srcOrd="0" destOrd="0" presId="urn:microsoft.com/office/officeart/2005/8/layout/radial1"/>
    <dgm:cxn modelId="{E0E7DF18-90F5-45DA-BAEC-B0B9709C1687}" type="presOf" srcId="{4CDCFCD9-18E2-496A-910C-A71DB5E2BF22}" destId="{99CA7C71-94E0-406A-8EA1-5FBF187ADC0C}" srcOrd="1" destOrd="0" presId="urn:microsoft.com/office/officeart/2005/8/layout/radial1"/>
    <dgm:cxn modelId="{31DEBD1D-F18A-452E-9EE2-C823954B5A67}" type="presOf" srcId="{5D34FC84-1B85-428E-B04D-4B1C2DF5E457}" destId="{BCEECC05-4FAE-43C8-B34B-64CDCE3CA549}" srcOrd="0" destOrd="0" presId="urn:microsoft.com/office/officeart/2005/8/layout/radial1"/>
    <dgm:cxn modelId="{98229A1E-D0E5-4F78-8989-376398B1D4EB}" type="presOf" srcId="{DCEED4EB-86D9-4116-A8B0-F74832192DB2}" destId="{1A93C7DC-8339-40A2-B351-AAAB19312949}" srcOrd="1" destOrd="0" presId="urn:microsoft.com/office/officeart/2005/8/layout/radial1"/>
    <dgm:cxn modelId="{5E005925-2940-428B-9FD4-1D03766FDC2B}" type="presOf" srcId="{01A228D3-AC51-408A-9E6E-9E42FB2CEDA8}" destId="{5E72B600-6EA8-4C71-A833-676D146AF239}" srcOrd="0" destOrd="0" presId="urn:microsoft.com/office/officeart/2005/8/layout/radial1"/>
    <dgm:cxn modelId="{5EC4312B-BDFD-4830-8FCB-98E02FE4B0EC}" type="presOf" srcId="{9B0A3AD9-514D-48B0-9189-BC0458F33665}" destId="{74D2C88E-384E-4A88-9578-83839222E1FA}" srcOrd="1" destOrd="0" presId="urn:microsoft.com/office/officeart/2005/8/layout/radial1"/>
    <dgm:cxn modelId="{23E47D30-ED1A-43E4-B8B2-BB7DCD51B635}" type="presOf" srcId="{59691949-F712-4782-BD84-57F7F2FED12B}" destId="{7A9C44C7-B3C2-44C4-A798-3FBC8B51CDFD}" srcOrd="0" destOrd="0" presId="urn:microsoft.com/office/officeart/2005/8/layout/radial1"/>
    <dgm:cxn modelId="{F552F438-BD52-4712-A3D7-D0A0940BEAB4}" type="presOf" srcId="{17979DD6-2147-497C-A1BE-508EE5CF4179}" destId="{081A3DC4-7E49-455E-921E-F8E5338D1983}" srcOrd="0" destOrd="0" presId="urn:microsoft.com/office/officeart/2005/8/layout/radial1"/>
    <dgm:cxn modelId="{FD721262-4D96-4A21-9D83-4CA62A69C9F2}" srcId="{8E302F93-6E12-46BE-A879-2CEDDA77D5AD}" destId="{17979DD6-2147-497C-A1BE-508EE5CF4179}" srcOrd="1" destOrd="0" parTransId="{2321FC99-6440-4F50-B538-E76DDD5D60AB}" sibTransId="{EC5261CF-9C2C-4528-9819-EC0C902E3D40}"/>
    <dgm:cxn modelId="{63298843-10D3-4D7B-9F19-0D4116B96E8F}" type="presOf" srcId="{2321FC99-6440-4F50-B538-E76DDD5D60AB}" destId="{B20C985D-CF71-4DA9-A2A6-E3AC30AACABA}" srcOrd="1" destOrd="0" presId="urn:microsoft.com/office/officeart/2005/8/layout/radial1"/>
    <dgm:cxn modelId="{FE083F64-41AE-4547-925A-7F2BD89B2F3D}" type="presOf" srcId="{85D3F71C-3D53-401D-BAA1-C4AFBE623530}" destId="{06007D82-9D38-4434-AD86-C018B57B65E8}" srcOrd="0" destOrd="0" presId="urn:microsoft.com/office/officeart/2005/8/layout/radial1"/>
    <dgm:cxn modelId="{5A33FE6B-E6B1-4A36-958A-D350380924E7}" srcId="{8E302F93-6E12-46BE-A879-2CEDDA77D5AD}" destId="{2EFFAF41-E353-45FF-974D-7DD9590308A1}" srcOrd="3" destOrd="0" parTransId="{4CDCFCD9-18E2-496A-910C-A71DB5E2BF22}" sibTransId="{AAF9CB9E-CA7B-433D-A697-48E1D1669CAD}"/>
    <dgm:cxn modelId="{5DCCEB6C-66C3-4F21-BA21-21D8BB1FBBD8}" type="presOf" srcId="{9B0A3AD9-514D-48B0-9189-BC0458F33665}" destId="{8E13B68C-3CEE-453D-811D-9D23CF8FED09}" srcOrd="0" destOrd="0" presId="urn:microsoft.com/office/officeart/2005/8/layout/radial1"/>
    <dgm:cxn modelId="{A218654E-74E4-4E60-8632-90CD74DDBBC8}" srcId="{8E302F93-6E12-46BE-A879-2CEDDA77D5AD}" destId="{9B341D05-4C57-46F5-8640-968A36A3F49D}" srcOrd="5" destOrd="0" parTransId="{5D34FC84-1B85-428E-B04D-4B1C2DF5E457}" sibTransId="{086F2770-BD69-4CE6-811A-B1B8B10FEE39}"/>
    <dgm:cxn modelId="{619A776E-907E-469E-BF40-EA8B2BCA3F7C}" srcId="{8E302F93-6E12-46BE-A879-2CEDDA77D5AD}" destId="{E35FF246-067F-42FF-B6BF-0D91A344C2FD}" srcOrd="0" destOrd="0" parTransId="{59691949-F712-4782-BD84-57F7F2FED12B}" sibTransId="{404F4FEB-0029-4C07-9572-3F19C409DC1C}"/>
    <dgm:cxn modelId="{9DB7A872-7CC3-4FC0-A740-C414F6C910B2}" srcId="{8E302F93-6E12-46BE-A879-2CEDDA77D5AD}" destId="{4FD419F3-9268-4188-8CEA-B68FFB30711E}" srcOrd="4" destOrd="0" parTransId="{9B0A3AD9-514D-48B0-9189-BC0458F33665}" sibTransId="{7EB2D56E-71AF-4F6A-A14F-E8F7BFCC7AAB}"/>
    <dgm:cxn modelId="{4935B676-A1A8-4FA8-A352-A8EBA91F4A33}" srcId="{8E302F93-6E12-46BE-A879-2CEDDA77D5AD}" destId="{76DEAE3D-3B64-48A8-A6FA-AF14A4708C25}" srcOrd="6" destOrd="0" parTransId="{3B3C611B-A1A0-4B00-A8DF-C85FF4134FFB}" sibTransId="{0AE0CFEA-053E-46E3-ACA0-70A0C187FEAF}"/>
    <dgm:cxn modelId="{58073A57-64CC-4519-9913-58A815B89A56}" srcId="{01A228D3-AC51-408A-9E6E-9E42FB2CEDA8}" destId="{8E302F93-6E12-46BE-A879-2CEDDA77D5AD}" srcOrd="0" destOrd="0" parTransId="{500E2EE8-D4F4-4C01-A2D3-6E33953D0802}" sibTransId="{ACFE66BA-99C2-4D4D-8D50-C12C00383CE6}"/>
    <dgm:cxn modelId="{ACF12982-23B3-4620-8175-501E93C3E8ED}" type="presOf" srcId="{2EFFAF41-E353-45FF-974D-7DD9590308A1}" destId="{35ED664C-4A36-438C-A54E-3D63555F93B7}" srcOrd="0" destOrd="0" presId="urn:microsoft.com/office/officeart/2005/8/layout/radial1"/>
    <dgm:cxn modelId="{F72E9488-B699-4643-86EC-4E335C21B045}" type="presOf" srcId="{CE6327CA-8813-4523-8ED8-245A41FDF76E}" destId="{E8AA51BB-FBAA-46BF-A75C-23DE842F5866}" srcOrd="1" destOrd="0" presId="urn:microsoft.com/office/officeart/2005/8/layout/radial1"/>
    <dgm:cxn modelId="{BE70E88A-7A70-4204-83E3-3F6961E673CD}" type="presOf" srcId="{5D34FC84-1B85-428E-B04D-4B1C2DF5E457}" destId="{5B0EFAC8-4065-455A-83BB-722BFD19C3E3}" srcOrd="1" destOrd="0" presId="urn:microsoft.com/office/officeart/2005/8/layout/radial1"/>
    <dgm:cxn modelId="{E5CC5A92-299A-43DA-A4D5-15CD31DEAB02}" type="presOf" srcId="{2321FC99-6440-4F50-B538-E76DDD5D60AB}" destId="{A698A8B3-B48B-4D88-AF1B-E343259706D6}" srcOrd="0" destOrd="0" presId="urn:microsoft.com/office/officeart/2005/8/layout/radial1"/>
    <dgm:cxn modelId="{13D00D95-43B8-44F4-B0BC-D9E2C0E75D4B}" type="presOf" srcId="{E35FF246-067F-42FF-B6BF-0D91A344C2FD}" destId="{6FA2A97F-91D4-4A01-B057-35B1176C573F}" srcOrd="0" destOrd="0" presId="urn:microsoft.com/office/officeart/2005/8/layout/radial1"/>
    <dgm:cxn modelId="{AF2985A9-2496-4F4A-87BD-DE6A896A4E10}" type="presOf" srcId="{4CDCFCD9-18E2-496A-910C-A71DB5E2BF22}" destId="{688F6D16-E17C-452B-9BE7-B762AD060BCC}" srcOrd="0" destOrd="0" presId="urn:microsoft.com/office/officeart/2005/8/layout/radial1"/>
    <dgm:cxn modelId="{A0B5B8AE-6BCD-40D9-B128-0F05E4929DD2}" type="presOf" srcId="{59691949-F712-4782-BD84-57F7F2FED12B}" destId="{B1E0C29F-E828-4990-9344-569F8FDE8DA9}" srcOrd="1" destOrd="0" presId="urn:microsoft.com/office/officeart/2005/8/layout/radial1"/>
    <dgm:cxn modelId="{D2137CBC-FE4B-4595-9426-291C08E5AD2B}" type="presOf" srcId="{8E302F93-6E12-46BE-A879-2CEDDA77D5AD}" destId="{16256A03-80C0-4C6A-94DC-C4C69DD9F6CF}" srcOrd="0" destOrd="0" presId="urn:microsoft.com/office/officeart/2005/8/layout/radial1"/>
    <dgm:cxn modelId="{661211C4-7157-4B1A-83E8-F310ECAEDCCA}" type="presOf" srcId="{3B3C611B-A1A0-4B00-A8DF-C85FF4134FFB}" destId="{5F489143-001C-4E3E-9D91-06082D4F48B9}" srcOrd="0" destOrd="0" presId="urn:microsoft.com/office/officeart/2005/8/layout/radial1"/>
    <dgm:cxn modelId="{AC802BC4-14A1-4B55-B9B1-8DA1545BC2CE}" type="presOf" srcId="{4FD419F3-9268-4188-8CEA-B68FFB30711E}" destId="{8282F88C-B573-433A-8797-D7175B143E0F}" srcOrd="0" destOrd="0" presId="urn:microsoft.com/office/officeart/2005/8/layout/radial1"/>
    <dgm:cxn modelId="{31DBBFC5-E128-41DB-A907-23A96E8FD990}" type="presOf" srcId="{DCEED4EB-86D9-4116-A8B0-F74832192DB2}" destId="{4D69694C-89B4-484E-AAA2-263DEC7B88A2}" srcOrd="0" destOrd="0" presId="urn:microsoft.com/office/officeart/2005/8/layout/radial1"/>
    <dgm:cxn modelId="{FB1A14E6-933B-4702-AAAA-C33DF02DA568}" type="presOf" srcId="{3B3C611B-A1A0-4B00-A8DF-C85FF4134FFB}" destId="{C87BB3F5-AE67-43B2-92E6-C3A532A900F1}" srcOrd="1" destOrd="0" presId="urn:microsoft.com/office/officeart/2005/8/layout/radial1"/>
    <dgm:cxn modelId="{DD742AED-1213-40D9-97D2-228C25D232FA}" type="presOf" srcId="{9B341D05-4C57-46F5-8640-968A36A3F49D}" destId="{4C307B13-5F61-40A0-BEA0-48DFF34BF35B}" srcOrd="0" destOrd="0" presId="urn:microsoft.com/office/officeart/2005/8/layout/radial1"/>
    <dgm:cxn modelId="{05348EF9-C556-42AD-AFE7-F37CE83160F4}" type="presOf" srcId="{76DEAE3D-3B64-48A8-A6FA-AF14A4708C25}" destId="{0A20789F-74AA-4FED-810B-771F6648E3DD}" srcOrd="0" destOrd="0" presId="urn:microsoft.com/office/officeart/2005/8/layout/radial1"/>
    <dgm:cxn modelId="{57F724FD-C47A-4AAA-B7A7-0B3C526A1FD5}" srcId="{8E302F93-6E12-46BE-A879-2CEDDA77D5AD}" destId="{A506275B-FAB3-47C3-8A4F-D8E5C27DB4F4}" srcOrd="7" destOrd="0" parTransId="{DCEED4EB-86D9-4116-A8B0-F74832192DB2}" sibTransId="{9EDCD2F6-FA85-47AC-98ED-B8A5E84D17E1}"/>
    <dgm:cxn modelId="{DF78347A-00F2-4F0F-95A9-86052F1E5DE8}" type="presParOf" srcId="{5E72B600-6EA8-4C71-A833-676D146AF239}" destId="{16256A03-80C0-4C6A-94DC-C4C69DD9F6CF}" srcOrd="0" destOrd="0" presId="urn:microsoft.com/office/officeart/2005/8/layout/radial1"/>
    <dgm:cxn modelId="{3B227AC2-B937-4074-99FA-B8310CF1A2CE}" type="presParOf" srcId="{5E72B600-6EA8-4C71-A833-676D146AF239}" destId="{7A9C44C7-B3C2-44C4-A798-3FBC8B51CDFD}" srcOrd="1" destOrd="0" presId="urn:microsoft.com/office/officeart/2005/8/layout/radial1"/>
    <dgm:cxn modelId="{3F97F3CC-3E91-4865-AB89-C599858BCBA3}" type="presParOf" srcId="{7A9C44C7-B3C2-44C4-A798-3FBC8B51CDFD}" destId="{B1E0C29F-E828-4990-9344-569F8FDE8DA9}" srcOrd="0" destOrd="0" presId="urn:microsoft.com/office/officeart/2005/8/layout/radial1"/>
    <dgm:cxn modelId="{8C7D4627-FE60-46EE-B578-A734AACA3192}" type="presParOf" srcId="{5E72B600-6EA8-4C71-A833-676D146AF239}" destId="{6FA2A97F-91D4-4A01-B057-35B1176C573F}" srcOrd="2" destOrd="0" presId="urn:microsoft.com/office/officeart/2005/8/layout/radial1"/>
    <dgm:cxn modelId="{C3A561F8-E1B5-4BAD-B284-97520F118851}" type="presParOf" srcId="{5E72B600-6EA8-4C71-A833-676D146AF239}" destId="{A698A8B3-B48B-4D88-AF1B-E343259706D6}" srcOrd="3" destOrd="0" presId="urn:microsoft.com/office/officeart/2005/8/layout/radial1"/>
    <dgm:cxn modelId="{8F64D871-16B1-422F-BA8F-93C8C09D2F80}" type="presParOf" srcId="{A698A8B3-B48B-4D88-AF1B-E343259706D6}" destId="{B20C985D-CF71-4DA9-A2A6-E3AC30AACABA}" srcOrd="0" destOrd="0" presId="urn:microsoft.com/office/officeart/2005/8/layout/radial1"/>
    <dgm:cxn modelId="{374A0236-AEA0-47B0-A9A2-CB5206F48B5B}" type="presParOf" srcId="{5E72B600-6EA8-4C71-A833-676D146AF239}" destId="{081A3DC4-7E49-455E-921E-F8E5338D1983}" srcOrd="4" destOrd="0" presId="urn:microsoft.com/office/officeart/2005/8/layout/radial1"/>
    <dgm:cxn modelId="{518ABEAC-F41D-4B45-888D-087D7CF018AE}" type="presParOf" srcId="{5E72B600-6EA8-4C71-A833-676D146AF239}" destId="{08A33A8F-CB04-4577-A318-3386E6C343CD}" srcOrd="5" destOrd="0" presId="urn:microsoft.com/office/officeart/2005/8/layout/radial1"/>
    <dgm:cxn modelId="{E30349F7-6134-4CB0-BA3E-020192AFE0C8}" type="presParOf" srcId="{08A33A8F-CB04-4577-A318-3386E6C343CD}" destId="{E8AA51BB-FBAA-46BF-A75C-23DE842F5866}" srcOrd="0" destOrd="0" presId="urn:microsoft.com/office/officeart/2005/8/layout/radial1"/>
    <dgm:cxn modelId="{29492750-D6D2-4EB3-B985-DEFB97CEFC73}" type="presParOf" srcId="{5E72B600-6EA8-4C71-A833-676D146AF239}" destId="{06007D82-9D38-4434-AD86-C018B57B65E8}" srcOrd="6" destOrd="0" presId="urn:microsoft.com/office/officeart/2005/8/layout/radial1"/>
    <dgm:cxn modelId="{ABD3445D-4C39-4329-91C9-58E28E3A7359}" type="presParOf" srcId="{5E72B600-6EA8-4C71-A833-676D146AF239}" destId="{688F6D16-E17C-452B-9BE7-B762AD060BCC}" srcOrd="7" destOrd="0" presId="urn:microsoft.com/office/officeart/2005/8/layout/radial1"/>
    <dgm:cxn modelId="{50BA833A-294F-44D6-8463-454C97B7C910}" type="presParOf" srcId="{688F6D16-E17C-452B-9BE7-B762AD060BCC}" destId="{99CA7C71-94E0-406A-8EA1-5FBF187ADC0C}" srcOrd="0" destOrd="0" presId="urn:microsoft.com/office/officeart/2005/8/layout/radial1"/>
    <dgm:cxn modelId="{D018F2DD-C822-46CE-A730-59D0EDD5149E}" type="presParOf" srcId="{5E72B600-6EA8-4C71-A833-676D146AF239}" destId="{35ED664C-4A36-438C-A54E-3D63555F93B7}" srcOrd="8" destOrd="0" presId="urn:microsoft.com/office/officeart/2005/8/layout/radial1"/>
    <dgm:cxn modelId="{06C2400A-D4BA-4419-AEE9-C39982DA81A2}" type="presParOf" srcId="{5E72B600-6EA8-4C71-A833-676D146AF239}" destId="{8E13B68C-3CEE-453D-811D-9D23CF8FED09}" srcOrd="9" destOrd="0" presId="urn:microsoft.com/office/officeart/2005/8/layout/radial1"/>
    <dgm:cxn modelId="{D5E20061-EB88-4CBC-8518-E760ADAFA94E}" type="presParOf" srcId="{8E13B68C-3CEE-453D-811D-9D23CF8FED09}" destId="{74D2C88E-384E-4A88-9578-83839222E1FA}" srcOrd="0" destOrd="0" presId="urn:microsoft.com/office/officeart/2005/8/layout/radial1"/>
    <dgm:cxn modelId="{287D360A-66A4-4911-8F97-11A2AB8356D1}" type="presParOf" srcId="{5E72B600-6EA8-4C71-A833-676D146AF239}" destId="{8282F88C-B573-433A-8797-D7175B143E0F}" srcOrd="10" destOrd="0" presId="urn:microsoft.com/office/officeart/2005/8/layout/radial1"/>
    <dgm:cxn modelId="{22278EC1-71DB-4817-8EDB-FC6583986F7E}" type="presParOf" srcId="{5E72B600-6EA8-4C71-A833-676D146AF239}" destId="{BCEECC05-4FAE-43C8-B34B-64CDCE3CA549}" srcOrd="11" destOrd="0" presId="urn:microsoft.com/office/officeart/2005/8/layout/radial1"/>
    <dgm:cxn modelId="{C096FC62-F349-472F-99B8-1E4107FBD374}" type="presParOf" srcId="{BCEECC05-4FAE-43C8-B34B-64CDCE3CA549}" destId="{5B0EFAC8-4065-455A-83BB-722BFD19C3E3}" srcOrd="0" destOrd="0" presId="urn:microsoft.com/office/officeart/2005/8/layout/radial1"/>
    <dgm:cxn modelId="{9084152C-7206-460B-A575-AE3B633C91F9}" type="presParOf" srcId="{5E72B600-6EA8-4C71-A833-676D146AF239}" destId="{4C307B13-5F61-40A0-BEA0-48DFF34BF35B}" srcOrd="12" destOrd="0" presId="urn:microsoft.com/office/officeart/2005/8/layout/radial1"/>
    <dgm:cxn modelId="{9CF675CD-77E2-4CBA-B84A-81994A4903F6}" type="presParOf" srcId="{5E72B600-6EA8-4C71-A833-676D146AF239}" destId="{5F489143-001C-4E3E-9D91-06082D4F48B9}" srcOrd="13" destOrd="0" presId="urn:microsoft.com/office/officeart/2005/8/layout/radial1"/>
    <dgm:cxn modelId="{D85D15DF-A31A-4EA7-811D-470E7EAADD4B}" type="presParOf" srcId="{5F489143-001C-4E3E-9D91-06082D4F48B9}" destId="{C87BB3F5-AE67-43B2-92E6-C3A532A900F1}" srcOrd="0" destOrd="0" presId="urn:microsoft.com/office/officeart/2005/8/layout/radial1"/>
    <dgm:cxn modelId="{0E5776F3-0638-49DF-AED3-1844CA373414}" type="presParOf" srcId="{5E72B600-6EA8-4C71-A833-676D146AF239}" destId="{0A20789F-74AA-4FED-810B-771F6648E3DD}" srcOrd="14" destOrd="0" presId="urn:microsoft.com/office/officeart/2005/8/layout/radial1"/>
    <dgm:cxn modelId="{8BEC9340-1E53-47FC-AB9A-27F22A0AC672}" type="presParOf" srcId="{5E72B600-6EA8-4C71-A833-676D146AF239}" destId="{4D69694C-89B4-484E-AAA2-263DEC7B88A2}" srcOrd="15" destOrd="0" presId="urn:microsoft.com/office/officeart/2005/8/layout/radial1"/>
    <dgm:cxn modelId="{613CE8FB-7F64-47BE-AC4A-B5A3CD62547F}" type="presParOf" srcId="{4D69694C-89B4-484E-AAA2-263DEC7B88A2}" destId="{1A93C7DC-8339-40A2-B351-AAAB19312949}" srcOrd="0" destOrd="0" presId="urn:microsoft.com/office/officeart/2005/8/layout/radial1"/>
    <dgm:cxn modelId="{03230203-472E-4156-B4E2-9CBA0F184C44}" type="presParOf" srcId="{5E72B600-6EA8-4C71-A833-676D146AF239}" destId="{6653509E-23B0-4FD3-ADD3-17344061F42D}" srcOrd="16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3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6F96643-560A-411A-A595-0316E06E5A6F}" type="doc">
      <dgm:prSet loTypeId="urn:microsoft.com/office/officeart/2005/8/layout/radial6" loCatId="cycle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AC5E3FFD-454D-448F-9C54-C4AB2A9F9529}">
      <dgm:prSet phldrT="[Text]"/>
      <dgm:spPr/>
      <dgm:t>
        <a:bodyPr/>
        <a:lstStyle/>
        <a:p>
          <a:r>
            <a:rPr lang="en-US" dirty="0"/>
            <a:t>Public blockchain</a:t>
          </a:r>
        </a:p>
      </dgm:t>
    </dgm:pt>
    <dgm:pt modelId="{462243D0-3635-40DC-A204-1658ACD0DD94}" type="parTrans" cxnId="{D54742AE-ABDF-451C-9954-6CE31CF7CF46}">
      <dgm:prSet/>
      <dgm:spPr/>
      <dgm:t>
        <a:bodyPr/>
        <a:lstStyle/>
        <a:p>
          <a:endParaRPr lang="en-US"/>
        </a:p>
      </dgm:t>
    </dgm:pt>
    <dgm:pt modelId="{B771C7F3-5B2A-4316-B9BF-357F51DEEA5B}" type="sibTrans" cxnId="{D54742AE-ABDF-451C-9954-6CE31CF7CF46}">
      <dgm:prSet/>
      <dgm:spPr/>
      <dgm:t>
        <a:bodyPr/>
        <a:lstStyle/>
        <a:p>
          <a:endParaRPr lang="en-US"/>
        </a:p>
      </dgm:t>
    </dgm:pt>
    <dgm:pt modelId="{1DCDE27C-82FE-4C6E-B793-2CFA9E5C6014}">
      <dgm:prSet phldrT="[Text]"/>
      <dgm:spPr/>
      <dgm:t>
        <a:bodyPr/>
        <a:lstStyle/>
        <a:p>
          <a:endParaRPr lang="en-US" dirty="0"/>
        </a:p>
      </dgm:t>
    </dgm:pt>
    <dgm:pt modelId="{76B47EA7-132F-41E5-AD21-BF8891192288}" type="parTrans" cxnId="{471E7C9D-B1B5-462F-8D67-6B9C07DD4EFB}">
      <dgm:prSet/>
      <dgm:spPr/>
      <dgm:t>
        <a:bodyPr/>
        <a:lstStyle/>
        <a:p>
          <a:endParaRPr lang="en-US"/>
        </a:p>
      </dgm:t>
    </dgm:pt>
    <dgm:pt modelId="{C6FCAAAA-D6DD-49A1-93C9-B21B71E6A999}" type="sibTrans" cxnId="{471E7C9D-B1B5-462F-8D67-6B9C07DD4EFB}">
      <dgm:prSet/>
      <dgm:spPr/>
      <dgm:t>
        <a:bodyPr/>
        <a:lstStyle/>
        <a:p>
          <a:endParaRPr lang="en-US"/>
        </a:p>
      </dgm:t>
    </dgm:pt>
    <dgm:pt modelId="{B577A208-6AD7-473C-ACAD-F4A7C82F8BC4}">
      <dgm:prSet phldrT="[Text]"/>
      <dgm:spPr/>
      <dgm:t>
        <a:bodyPr/>
        <a:lstStyle/>
        <a:p>
          <a:endParaRPr lang="en-US" dirty="0"/>
        </a:p>
      </dgm:t>
    </dgm:pt>
    <dgm:pt modelId="{B524B09A-D46E-4E60-942D-850C5B323241}" type="parTrans" cxnId="{B4F4AA36-F7B4-4E62-A767-FB216FB41A91}">
      <dgm:prSet/>
      <dgm:spPr/>
      <dgm:t>
        <a:bodyPr/>
        <a:lstStyle/>
        <a:p>
          <a:endParaRPr lang="en-US"/>
        </a:p>
      </dgm:t>
    </dgm:pt>
    <dgm:pt modelId="{D2455330-6F4B-41C3-A205-5932EA9CF1EA}" type="sibTrans" cxnId="{B4F4AA36-F7B4-4E62-A767-FB216FB41A91}">
      <dgm:prSet/>
      <dgm:spPr/>
      <dgm:t>
        <a:bodyPr/>
        <a:lstStyle/>
        <a:p>
          <a:endParaRPr lang="en-US"/>
        </a:p>
      </dgm:t>
    </dgm:pt>
    <dgm:pt modelId="{241BD055-6FD2-4BDD-AA52-D5165A604C9D}">
      <dgm:prSet phldrT="[Text]"/>
      <dgm:spPr/>
      <dgm:t>
        <a:bodyPr/>
        <a:lstStyle/>
        <a:p>
          <a:endParaRPr lang="en-US" dirty="0"/>
        </a:p>
      </dgm:t>
    </dgm:pt>
    <dgm:pt modelId="{D5BA60FD-63C2-4B3C-84E7-21E5C95A73A8}" type="parTrans" cxnId="{A573D143-5B53-4B73-A9B8-09836FE6A604}">
      <dgm:prSet/>
      <dgm:spPr/>
      <dgm:t>
        <a:bodyPr/>
        <a:lstStyle/>
        <a:p>
          <a:endParaRPr lang="en-US"/>
        </a:p>
      </dgm:t>
    </dgm:pt>
    <dgm:pt modelId="{66CBF3BD-C16A-4F01-A9D4-C4DE86273DD8}" type="sibTrans" cxnId="{A573D143-5B53-4B73-A9B8-09836FE6A604}">
      <dgm:prSet/>
      <dgm:spPr/>
      <dgm:t>
        <a:bodyPr/>
        <a:lstStyle/>
        <a:p>
          <a:endParaRPr lang="en-US"/>
        </a:p>
      </dgm:t>
    </dgm:pt>
    <dgm:pt modelId="{63CB94C2-4935-4DFB-8B77-F8A4B2EF3043}">
      <dgm:prSet phldrT="[Text]"/>
      <dgm:spPr/>
      <dgm:t>
        <a:bodyPr/>
        <a:lstStyle/>
        <a:p>
          <a:endParaRPr lang="en-US" dirty="0"/>
        </a:p>
      </dgm:t>
    </dgm:pt>
    <dgm:pt modelId="{C32543CF-30CD-4C1C-829A-BEA63766A922}" type="parTrans" cxnId="{D44CD751-0A25-4DB0-A9A1-EBA1C7AF81F2}">
      <dgm:prSet/>
      <dgm:spPr/>
      <dgm:t>
        <a:bodyPr/>
        <a:lstStyle/>
        <a:p>
          <a:endParaRPr lang="en-US"/>
        </a:p>
      </dgm:t>
    </dgm:pt>
    <dgm:pt modelId="{6D964E3E-1DC0-40B5-ABC0-653E84D2A916}" type="sibTrans" cxnId="{D44CD751-0A25-4DB0-A9A1-EBA1C7AF81F2}">
      <dgm:prSet/>
      <dgm:spPr/>
      <dgm:t>
        <a:bodyPr/>
        <a:lstStyle/>
        <a:p>
          <a:endParaRPr lang="en-US"/>
        </a:p>
      </dgm:t>
    </dgm:pt>
    <dgm:pt modelId="{56A7D291-E6C9-4FEB-A57C-910C86E16110}">
      <dgm:prSet phldrT="[Text]"/>
      <dgm:spPr/>
      <dgm:t>
        <a:bodyPr/>
        <a:lstStyle/>
        <a:p>
          <a:endParaRPr lang="en-US" dirty="0"/>
        </a:p>
      </dgm:t>
    </dgm:pt>
    <dgm:pt modelId="{67C16BC9-D83B-43C8-B3E4-446359538707}" type="parTrans" cxnId="{D3231EF8-8819-4DA7-B695-30E3563A55FE}">
      <dgm:prSet/>
      <dgm:spPr/>
      <dgm:t>
        <a:bodyPr/>
        <a:lstStyle/>
        <a:p>
          <a:endParaRPr lang="en-US"/>
        </a:p>
      </dgm:t>
    </dgm:pt>
    <dgm:pt modelId="{FD382127-9E7A-449E-A1CA-B1042BAE6EBF}" type="sibTrans" cxnId="{D3231EF8-8819-4DA7-B695-30E3563A55FE}">
      <dgm:prSet/>
      <dgm:spPr/>
      <dgm:t>
        <a:bodyPr/>
        <a:lstStyle/>
        <a:p>
          <a:endParaRPr lang="en-US"/>
        </a:p>
      </dgm:t>
    </dgm:pt>
    <dgm:pt modelId="{652CDAD1-37D8-4276-ADAC-9712EC1616EB}">
      <dgm:prSet phldrT="[Text]"/>
      <dgm:spPr/>
      <dgm:t>
        <a:bodyPr/>
        <a:lstStyle/>
        <a:p>
          <a:endParaRPr lang="en-US" dirty="0"/>
        </a:p>
      </dgm:t>
    </dgm:pt>
    <dgm:pt modelId="{214F44AB-5679-44FB-86A2-E4440336EEE0}" type="parTrans" cxnId="{A84F80C5-1A20-4DF6-AAE9-35A7F07E10AD}">
      <dgm:prSet/>
      <dgm:spPr/>
      <dgm:t>
        <a:bodyPr/>
        <a:lstStyle/>
        <a:p>
          <a:endParaRPr lang="en-US"/>
        </a:p>
      </dgm:t>
    </dgm:pt>
    <dgm:pt modelId="{BA69FEAD-A6B4-41F7-8B7B-0E3D6B472CE6}" type="sibTrans" cxnId="{A84F80C5-1A20-4DF6-AAE9-35A7F07E10AD}">
      <dgm:prSet/>
      <dgm:spPr/>
      <dgm:t>
        <a:bodyPr/>
        <a:lstStyle/>
        <a:p>
          <a:endParaRPr lang="en-US"/>
        </a:p>
      </dgm:t>
    </dgm:pt>
    <dgm:pt modelId="{A41D4054-92BF-4825-A929-625975367CF3}">
      <dgm:prSet phldrT="[Text]"/>
      <dgm:spPr/>
      <dgm:t>
        <a:bodyPr/>
        <a:lstStyle/>
        <a:p>
          <a:endParaRPr lang="en-US" dirty="0"/>
        </a:p>
      </dgm:t>
    </dgm:pt>
    <dgm:pt modelId="{6EB4F017-805B-4C74-82E8-BE26151C1DE9}" type="parTrans" cxnId="{DF6C893B-2624-494E-9E66-AC21D3C570B3}">
      <dgm:prSet/>
      <dgm:spPr/>
      <dgm:t>
        <a:bodyPr/>
        <a:lstStyle/>
        <a:p>
          <a:endParaRPr lang="en-US"/>
        </a:p>
      </dgm:t>
    </dgm:pt>
    <dgm:pt modelId="{B527ADA9-C150-4F37-821C-02D6385061BC}" type="sibTrans" cxnId="{DF6C893B-2624-494E-9E66-AC21D3C570B3}">
      <dgm:prSet/>
      <dgm:spPr/>
      <dgm:t>
        <a:bodyPr/>
        <a:lstStyle/>
        <a:p>
          <a:endParaRPr lang="en-US"/>
        </a:p>
      </dgm:t>
    </dgm:pt>
    <dgm:pt modelId="{D5196C45-6D08-4060-9FC6-92E86C2A89FB}">
      <dgm:prSet phldrT="[Text]"/>
      <dgm:spPr/>
      <dgm:t>
        <a:bodyPr/>
        <a:lstStyle/>
        <a:p>
          <a:endParaRPr lang="en-US" dirty="0"/>
        </a:p>
      </dgm:t>
    </dgm:pt>
    <dgm:pt modelId="{C75F6CEB-D547-423D-9567-DCECC7B986A4}" type="parTrans" cxnId="{3894FC7B-8954-4DC8-BA62-93EA0A9A0785}">
      <dgm:prSet/>
      <dgm:spPr/>
      <dgm:t>
        <a:bodyPr/>
        <a:lstStyle/>
        <a:p>
          <a:endParaRPr lang="en-US"/>
        </a:p>
      </dgm:t>
    </dgm:pt>
    <dgm:pt modelId="{328A0A3E-28A8-404F-A762-B3768D5B2A89}" type="sibTrans" cxnId="{3894FC7B-8954-4DC8-BA62-93EA0A9A0785}">
      <dgm:prSet/>
      <dgm:spPr/>
      <dgm:t>
        <a:bodyPr/>
        <a:lstStyle/>
        <a:p>
          <a:endParaRPr lang="en-US"/>
        </a:p>
      </dgm:t>
    </dgm:pt>
    <dgm:pt modelId="{599C0B11-3359-476E-8D5A-FDA913BD9FF5}" type="pres">
      <dgm:prSet presAssocID="{B6F96643-560A-411A-A595-0316E06E5A6F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7D079BC-D22E-4791-80C1-95AD963A8A73}" type="pres">
      <dgm:prSet presAssocID="{AC5E3FFD-454D-448F-9C54-C4AB2A9F9529}" presName="centerShape" presStyleLbl="node0" presStyleIdx="0" presStyleCnt="1"/>
      <dgm:spPr/>
    </dgm:pt>
    <dgm:pt modelId="{E0F672E3-28FB-4253-880D-84AB5CD6AC9D}" type="pres">
      <dgm:prSet presAssocID="{241BD055-6FD2-4BDD-AA52-D5165A604C9D}" presName="node" presStyleLbl="node1" presStyleIdx="0" presStyleCnt="7">
        <dgm:presLayoutVars>
          <dgm:bulletEnabled val="1"/>
        </dgm:presLayoutVars>
      </dgm:prSet>
      <dgm:spPr/>
    </dgm:pt>
    <dgm:pt modelId="{2CF5B839-8C8C-449D-9255-963A51BC89EC}" type="pres">
      <dgm:prSet presAssocID="{241BD055-6FD2-4BDD-AA52-D5165A604C9D}" presName="dummy" presStyleCnt="0"/>
      <dgm:spPr/>
    </dgm:pt>
    <dgm:pt modelId="{7813294B-C76C-4EDE-8276-BC91BC6CDF6F}" type="pres">
      <dgm:prSet presAssocID="{66CBF3BD-C16A-4F01-A9D4-C4DE86273DD8}" presName="sibTrans" presStyleLbl="sibTrans2D1" presStyleIdx="0" presStyleCnt="7"/>
      <dgm:spPr/>
    </dgm:pt>
    <dgm:pt modelId="{5A6EEEE5-BAC8-4D18-90D8-FDB6E208F0CA}" type="pres">
      <dgm:prSet presAssocID="{63CB94C2-4935-4DFB-8B77-F8A4B2EF3043}" presName="node" presStyleLbl="node1" presStyleIdx="1" presStyleCnt="7">
        <dgm:presLayoutVars>
          <dgm:bulletEnabled val="1"/>
        </dgm:presLayoutVars>
      </dgm:prSet>
      <dgm:spPr/>
    </dgm:pt>
    <dgm:pt modelId="{9603CB14-7340-4136-8C1A-7FF242549EC3}" type="pres">
      <dgm:prSet presAssocID="{63CB94C2-4935-4DFB-8B77-F8A4B2EF3043}" presName="dummy" presStyleCnt="0"/>
      <dgm:spPr/>
    </dgm:pt>
    <dgm:pt modelId="{5D15C4A1-730D-40A2-A779-ECE596BAA92C}" type="pres">
      <dgm:prSet presAssocID="{6D964E3E-1DC0-40B5-ABC0-653E84D2A916}" presName="sibTrans" presStyleLbl="sibTrans2D1" presStyleIdx="1" presStyleCnt="7"/>
      <dgm:spPr/>
    </dgm:pt>
    <dgm:pt modelId="{F6DD4101-3EE9-4A1D-A3E5-6F4AA62DA6A3}" type="pres">
      <dgm:prSet presAssocID="{56A7D291-E6C9-4FEB-A57C-910C86E16110}" presName="node" presStyleLbl="node1" presStyleIdx="2" presStyleCnt="7">
        <dgm:presLayoutVars>
          <dgm:bulletEnabled val="1"/>
        </dgm:presLayoutVars>
      </dgm:prSet>
      <dgm:spPr/>
    </dgm:pt>
    <dgm:pt modelId="{9FC6D9FA-3FE9-401E-A751-433EF90BC389}" type="pres">
      <dgm:prSet presAssocID="{56A7D291-E6C9-4FEB-A57C-910C86E16110}" presName="dummy" presStyleCnt="0"/>
      <dgm:spPr/>
    </dgm:pt>
    <dgm:pt modelId="{1496D73B-9A6A-45A4-93F7-B5CEDEDE0EF0}" type="pres">
      <dgm:prSet presAssocID="{FD382127-9E7A-449E-A1CA-B1042BAE6EBF}" presName="sibTrans" presStyleLbl="sibTrans2D1" presStyleIdx="2" presStyleCnt="7"/>
      <dgm:spPr/>
    </dgm:pt>
    <dgm:pt modelId="{F6573F36-AFE1-4974-8D8A-08E99E19A83B}" type="pres">
      <dgm:prSet presAssocID="{652CDAD1-37D8-4276-ADAC-9712EC1616EB}" presName="node" presStyleLbl="node1" presStyleIdx="3" presStyleCnt="7">
        <dgm:presLayoutVars>
          <dgm:bulletEnabled val="1"/>
        </dgm:presLayoutVars>
      </dgm:prSet>
      <dgm:spPr/>
    </dgm:pt>
    <dgm:pt modelId="{5CBA5CB2-383F-45CF-9F71-C8B0DEDCAABD}" type="pres">
      <dgm:prSet presAssocID="{652CDAD1-37D8-4276-ADAC-9712EC1616EB}" presName="dummy" presStyleCnt="0"/>
      <dgm:spPr/>
    </dgm:pt>
    <dgm:pt modelId="{31037475-9597-479F-82EB-C769497F8A6F}" type="pres">
      <dgm:prSet presAssocID="{BA69FEAD-A6B4-41F7-8B7B-0E3D6B472CE6}" presName="sibTrans" presStyleLbl="sibTrans2D1" presStyleIdx="3" presStyleCnt="7"/>
      <dgm:spPr/>
    </dgm:pt>
    <dgm:pt modelId="{31C896C7-8C16-42CC-99DC-BEDC0F6A9C22}" type="pres">
      <dgm:prSet presAssocID="{A41D4054-92BF-4825-A929-625975367CF3}" presName="node" presStyleLbl="node1" presStyleIdx="4" presStyleCnt="7">
        <dgm:presLayoutVars>
          <dgm:bulletEnabled val="1"/>
        </dgm:presLayoutVars>
      </dgm:prSet>
      <dgm:spPr/>
    </dgm:pt>
    <dgm:pt modelId="{A21D775F-1C4C-4D7B-A0FB-308031131D95}" type="pres">
      <dgm:prSet presAssocID="{A41D4054-92BF-4825-A929-625975367CF3}" presName="dummy" presStyleCnt="0"/>
      <dgm:spPr/>
    </dgm:pt>
    <dgm:pt modelId="{EA91CE04-D79F-4159-8D7C-E0671EB50C59}" type="pres">
      <dgm:prSet presAssocID="{B527ADA9-C150-4F37-821C-02D6385061BC}" presName="sibTrans" presStyleLbl="sibTrans2D1" presStyleIdx="4" presStyleCnt="7"/>
      <dgm:spPr/>
    </dgm:pt>
    <dgm:pt modelId="{4E9C9CC9-B07D-42EA-9C30-E7888C8E9FF6}" type="pres">
      <dgm:prSet presAssocID="{D5196C45-6D08-4060-9FC6-92E86C2A89FB}" presName="node" presStyleLbl="node1" presStyleIdx="5" presStyleCnt="7">
        <dgm:presLayoutVars>
          <dgm:bulletEnabled val="1"/>
        </dgm:presLayoutVars>
      </dgm:prSet>
      <dgm:spPr/>
    </dgm:pt>
    <dgm:pt modelId="{4B2528B4-2413-448C-B7B4-7DA9B3541D67}" type="pres">
      <dgm:prSet presAssocID="{D5196C45-6D08-4060-9FC6-92E86C2A89FB}" presName="dummy" presStyleCnt="0"/>
      <dgm:spPr/>
    </dgm:pt>
    <dgm:pt modelId="{2CFD8486-1BDF-4DA3-8931-2D0E203C0770}" type="pres">
      <dgm:prSet presAssocID="{328A0A3E-28A8-404F-A762-B3768D5B2A89}" presName="sibTrans" presStyleLbl="sibTrans2D1" presStyleIdx="5" presStyleCnt="7"/>
      <dgm:spPr/>
    </dgm:pt>
    <dgm:pt modelId="{1C182D3F-21FC-441F-B35E-9D7268A8D9DD}" type="pres">
      <dgm:prSet presAssocID="{B577A208-6AD7-473C-ACAD-F4A7C82F8BC4}" presName="node" presStyleLbl="node1" presStyleIdx="6" presStyleCnt="7">
        <dgm:presLayoutVars>
          <dgm:bulletEnabled val="1"/>
        </dgm:presLayoutVars>
      </dgm:prSet>
      <dgm:spPr/>
    </dgm:pt>
    <dgm:pt modelId="{A55D5444-7FED-4434-9175-8E067D44C841}" type="pres">
      <dgm:prSet presAssocID="{B577A208-6AD7-473C-ACAD-F4A7C82F8BC4}" presName="dummy" presStyleCnt="0"/>
      <dgm:spPr/>
    </dgm:pt>
    <dgm:pt modelId="{8D3679FE-38E4-470B-BF38-A609169A98F1}" type="pres">
      <dgm:prSet presAssocID="{D2455330-6F4B-41C3-A205-5932EA9CF1EA}" presName="sibTrans" presStyleLbl="sibTrans2D1" presStyleIdx="6" presStyleCnt="7"/>
      <dgm:spPr/>
    </dgm:pt>
  </dgm:ptLst>
  <dgm:cxnLst>
    <dgm:cxn modelId="{675F2500-D958-41F6-AE70-74EA65A18D40}" type="presOf" srcId="{241BD055-6FD2-4BDD-AA52-D5165A604C9D}" destId="{E0F672E3-28FB-4253-880D-84AB5CD6AC9D}" srcOrd="0" destOrd="0" presId="urn:microsoft.com/office/officeart/2005/8/layout/radial6"/>
    <dgm:cxn modelId="{CAA93731-23B9-48BA-B99C-A7C914FCC16D}" type="presOf" srcId="{56A7D291-E6C9-4FEB-A57C-910C86E16110}" destId="{F6DD4101-3EE9-4A1D-A3E5-6F4AA62DA6A3}" srcOrd="0" destOrd="0" presId="urn:microsoft.com/office/officeart/2005/8/layout/radial6"/>
    <dgm:cxn modelId="{BCB82D32-442C-4180-B767-E2C24EAB899F}" type="presOf" srcId="{FD382127-9E7A-449E-A1CA-B1042BAE6EBF}" destId="{1496D73B-9A6A-45A4-93F7-B5CEDEDE0EF0}" srcOrd="0" destOrd="0" presId="urn:microsoft.com/office/officeart/2005/8/layout/radial6"/>
    <dgm:cxn modelId="{4578F635-F1F9-4693-B36D-36B7CAFAE3F3}" type="presOf" srcId="{B6F96643-560A-411A-A595-0316E06E5A6F}" destId="{599C0B11-3359-476E-8D5A-FDA913BD9FF5}" srcOrd="0" destOrd="0" presId="urn:microsoft.com/office/officeart/2005/8/layout/radial6"/>
    <dgm:cxn modelId="{B4F4AA36-F7B4-4E62-A767-FB216FB41A91}" srcId="{AC5E3FFD-454D-448F-9C54-C4AB2A9F9529}" destId="{B577A208-6AD7-473C-ACAD-F4A7C82F8BC4}" srcOrd="6" destOrd="0" parTransId="{B524B09A-D46E-4E60-942D-850C5B323241}" sibTransId="{D2455330-6F4B-41C3-A205-5932EA9CF1EA}"/>
    <dgm:cxn modelId="{56B59237-29EA-4AE1-BD87-B47D7F720817}" type="presOf" srcId="{B577A208-6AD7-473C-ACAD-F4A7C82F8BC4}" destId="{1C182D3F-21FC-441F-B35E-9D7268A8D9DD}" srcOrd="0" destOrd="0" presId="urn:microsoft.com/office/officeart/2005/8/layout/radial6"/>
    <dgm:cxn modelId="{DF6C893B-2624-494E-9E66-AC21D3C570B3}" srcId="{AC5E3FFD-454D-448F-9C54-C4AB2A9F9529}" destId="{A41D4054-92BF-4825-A929-625975367CF3}" srcOrd="4" destOrd="0" parTransId="{6EB4F017-805B-4C74-82E8-BE26151C1DE9}" sibTransId="{B527ADA9-C150-4F37-821C-02D6385061BC}"/>
    <dgm:cxn modelId="{C6247F3E-5EA6-443F-8D7D-6FF4299ADC5B}" type="presOf" srcId="{BA69FEAD-A6B4-41F7-8B7B-0E3D6B472CE6}" destId="{31037475-9597-479F-82EB-C769497F8A6F}" srcOrd="0" destOrd="0" presId="urn:microsoft.com/office/officeart/2005/8/layout/radial6"/>
    <dgm:cxn modelId="{A573D143-5B53-4B73-A9B8-09836FE6A604}" srcId="{AC5E3FFD-454D-448F-9C54-C4AB2A9F9529}" destId="{241BD055-6FD2-4BDD-AA52-D5165A604C9D}" srcOrd="0" destOrd="0" parTransId="{D5BA60FD-63C2-4B3C-84E7-21E5C95A73A8}" sibTransId="{66CBF3BD-C16A-4F01-A9D4-C4DE86273DD8}"/>
    <dgm:cxn modelId="{D44CD751-0A25-4DB0-A9A1-EBA1C7AF81F2}" srcId="{AC5E3FFD-454D-448F-9C54-C4AB2A9F9529}" destId="{63CB94C2-4935-4DFB-8B77-F8A4B2EF3043}" srcOrd="1" destOrd="0" parTransId="{C32543CF-30CD-4C1C-829A-BEA63766A922}" sibTransId="{6D964E3E-1DC0-40B5-ABC0-653E84D2A916}"/>
    <dgm:cxn modelId="{AEA94758-C21C-4A67-A8FB-0057FC35D717}" type="presOf" srcId="{66CBF3BD-C16A-4F01-A9D4-C4DE86273DD8}" destId="{7813294B-C76C-4EDE-8276-BC91BC6CDF6F}" srcOrd="0" destOrd="0" presId="urn:microsoft.com/office/officeart/2005/8/layout/radial6"/>
    <dgm:cxn modelId="{3894FC7B-8954-4DC8-BA62-93EA0A9A0785}" srcId="{AC5E3FFD-454D-448F-9C54-C4AB2A9F9529}" destId="{D5196C45-6D08-4060-9FC6-92E86C2A89FB}" srcOrd="5" destOrd="0" parTransId="{C75F6CEB-D547-423D-9567-DCECC7B986A4}" sibTransId="{328A0A3E-28A8-404F-A762-B3768D5B2A89}"/>
    <dgm:cxn modelId="{BD28A57D-D9E2-4F32-9DA0-99F2ED9D9FFF}" type="presOf" srcId="{A41D4054-92BF-4825-A929-625975367CF3}" destId="{31C896C7-8C16-42CC-99DC-BEDC0F6A9C22}" srcOrd="0" destOrd="0" presId="urn:microsoft.com/office/officeart/2005/8/layout/radial6"/>
    <dgm:cxn modelId="{75DAF57D-BEE5-49D7-859F-0AC6173F0A82}" type="presOf" srcId="{B527ADA9-C150-4F37-821C-02D6385061BC}" destId="{EA91CE04-D79F-4159-8D7C-E0671EB50C59}" srcOrd="0" destOrd="0" presId="urn:microsoft.com/office/officeart/2005/8/layout/radial6"/>
    <dgm:cxn modelId="{4D63968D-A6D4-40CE-BDA9-764C7F552945}" type="presOf" srcId="{6D964E3E-1DC0-40B5-ABC0-653E84D2A916}" destId="{5D15C4A1-730D-40A2-A779-ECE596BAA92C}" srcOrd="0" destOrd="0" presId="urn:microsoft.com/office/officeart/2005/8/layout/radial6"/>
    <dgm:cxn modelId="{CB55BC8F-086F-43D8-94E2-32EEA4C63F5F}" type="presOf" srcId="{D5196C45-6D08-4060-9FC6-92E86C2A89FB}" destId="{4E9C9CC9-B07D-42EA-9C30-E7888C8E9FF6}" srcOrd="0" destOrd="0" presId="urn:microsoft.com/office/officeart/2005/8/layout/radial6"/>
    <dgm:cxn modelId="{471E7C9D-B1B5-462F-8D67-6B9C07DD4EFB}" srcId="{B6F96643-560A-411A-A595-0316E06E5A6F}" destId="{1DCDE27C-82FE-4C6E-B793-2CFA9E5C6014}" srcOrd="1" destOrd="0" parTransId="{76B47EA7-132F-41E5-AD21-BF8891192288}" sibTransId="{C6FCAAAA-D6DD-49A1-93C9-B21B71E6A999}"/>
    <dgm:cxn modelId="{CCB0AFA4-2A17-47BC-900D-06DE456B42A6}" type="presOf" srcId="{D2455330-6F4B-41C3-A205-5932EA9CF1EA}" destId="{8D3679FE-38E4-470B-BF38-A609169A98F1}" srcOrd="0" destOrd="0" presId="urn:microsoft.com/office/officeart/2005/8/layout/radial6"/>
    <dgm:cxn modelId="{D54742AE-ABDF-451C-9954-6CE31CF7CF46}" srcId="{B6F96643-560A-411A-A595-0316E06E5A6F}" destId="{AC5E3FFD-454D-448F-9C54-C4AB2A9F9529}" srcOrd="0" destOrd="0" parTransId="{462243D0-3635-40DC-A204-1658ACD0DD94}" sibTransId="{B771C7F3-5B2A-4316-B9BF-357F51DEEA5B}"/>
    <dgm:cxn modelId="{4C571EB6-C4C7-482D-960B-3320F56DD147}" type="presOf" srcId="{328A0A3E-28A8-404F-A762-B3768D5B2A89}" destId="{2CFD8486-1BDF-4DA3-8931-2D0E203C0770}" srcOrd="0" destOrd="0" presId="urn:microsoft.com/office/officeart/2005/8/layout/radial6"/>
    <dgm:cxn modelId="{71B9F1B9-7813-4CC5-AA60-5788E0C8449A}" type="presOf" srcId="{652CDAD1-37D8-4276-ADAC-9712EC1616EB}" destId="{F6573F36-AFE1-4974-8D8A-08E99E19A83B}" srcOrd="0" destOrd="0" presId="urn:microsoft.com/office/officeart/2005/8/layout/radial6"/>
    <dgm:cxn modelId="{A84F80C5-1A20-4DF6-AAE9-35A7F07E10AD}" srcId="{AC5E3FFD-454D-448F-9C54-C4AB2A9F9529}" destId="{652CDAD1-37D8-4276-ADAC-9712EC1616EB}" srcOrd="3" destOrd="0" parTransId="{214F44AB-5679-44FB-86A2-E4440336EEE0}" sibTransId="{BA69FEAD-A6B4-41F7-8B7B-0E3D6B472CE6}"/>
    <dgm:cxn modelId="{6177CED2-D732-4F47-874D-E49C38DBB2BA}" type="presOf" srcId="{AC5E3FFD-454D-448F-9C54-C4AB2A9F9529}" destId="{97D079BC-D22E-4791-80C1-95AD963A8A73}" srcOrd="0" destOrd="0" presId="urn:microsoft.com/office/officeart/2005/8/layout/radial6"/>
    <dgm:cxn modelId="{D3231EF8-8819-4DA7-B695-30E3563A55FE}" srcId="{AC5E3FFD-454D-448F-9C54-C4AB2A9F9529}" destId="{56A7D291-E6C9-4FEB-A57C-910C86E16110}" srcOrd="2" destOrd="0" parTransId="{67C16BC9-D83B-43C8-B3E4-446359538707}" sibTransId="{FD382127-9E7A-449E-A1CA-B1042BAE6EBF}"/>
    <dgm:cxn modelId="{4A03B4FF-5E22-4901-B813-F551E475833D}" type="presOf" srcId="{63CB94C2-4935-4DFB-8B77-F8A4B2EF3043}" destId="{5A6EEEE5-BAC8-4D18-90D8-FDB6E208F0CA}" srcOrd="0" destOrd="0" presId="urn:microsoft.com/office/officeart/2005/8/layout/radial6"/>
    <dgm:cxn modelId="{F4C4B379-C386-47B6-933E-94663975EE45}" type="presParOf" srcId="{599C0B11-3359-476E-8D5A-FDA913BD9FF5}" destId="{97D079BC-D22E-4791-80C1-95AD963A8A73}" srcOrd="0" destOrd="0" presId="urn:microsoft.com/office/officeart/2005/8/layout/radial6"/>
    <dgm:cxn modelId="{ADF30E8F-EE59-4497-B447-20DB52AF2BE0}" type="presParOf" srcId="{599C0B11-3359-476E-8D5A-FDA913BD9FF5}" destId="{E0F672E3-28FB-4253-880D-84AB5CD6AC9D}" srcOrd="1" destOrd="0" presId="urn:microsoft.com/office/officeart/2005/8/layout/radial6"/>
    <dgm:cxn modelId="{63EB3FCA-3BCC-425B-8AC9-01991D7CEC8F}" type="presParOf" srcId="{599C0B11-3359-476E-8D5A-FDA913BD9FF5}" destId="{2CF5B839-8C8C-449D-9255-963A51BC89EC}" srcOrd="2" destOrd="0" presId="urn:microsoft.com/office/officeart/2005/8/layout/radial6"/>
    <dgm:cxn modelId="{DCE58548-823B-46C6-B8B6-4EF0D2794B04}" type="presParOf" srcId="{599C0B11-3359-476E-8D5A-FDA913BD9FF5}" destId="{7813294B-C76C-4EDE-8276-BC91BC6CDF6F}" srcOrd="3" destOrd="0" presId="urn:microsoft.com/office/officeart/2005/8/layout/radial6"/>
    <dgm:cxn modelId="{57FDD9E2-8E4E-4161-B287-37FD00365A1E}" type="presParOf" srcId="{599C0B11-3359-476E-8D5A-FDA913BD9FF5}" destId="{5A6EEEE5-BAC8-4D18-90D8-FDB6E208F0CA}" srcOrd="4" destOrd="0" presId="urn:microsoft.com/office/officeart/2005/8/layout/radial6"/>
    <dgm:cxn modelId="{898272D4-3154-4CD8-85F2-91FC61773698}" type="presParOf" srcId="{599C0B11-3359-476E-8D5A-FDA913BD9FF5}" destId="{9603CB14-7340-4136-8C1A-7FF242549EC3}" srcOrd="5" destOrd="0" presId="urn:microsoft.com/office/officeart/2005/8/layout/radial6"/>
    <dgm:cxn modelId="{8B50E89C-77D2-4268-8CF9-094E4F5AAAD4}" type="presParOf" srcId="{599C0B11-3359-476E-8D5A-FDA913BD9FF5}" destId="{5D15C4A1-730D-40A2-A779-ECE596BAA92C}" srcOrd="6" destOrd="0" presId="urn:microsoft.com/office/officeart/2005/8/layout/radial6"/>
    <dgm:cxn modelId="{23055465-A503-4286-9F86-876499CDE2B3}" type="presParOf" srcId="{599C0B11-3359-476E-8D5A-FDA913BD9FF5}" destId="{F6DD4101-3EE9-4A1D-A3E5-6F4AA62DA6A3}" srcOrd="7" destOrd="0" presId="urn:microsoft.com/office/officeart/2005/8/layout/radial6"/>
    <dgm:cxn modelId="{AFE0D747-940A-4490-A9CF-EDCE2FAAA2A5}" type="presParOf" srcId="{599C0B11-3359-476E-8D5A-FDA913BD9FF5}" destId="{9FC6D9FA-3FE9-401E-A751-433EF90BC389}" srcOrd="8" destOrd="0" presId="urn:microsoft.com/office/officeart/2005/8/layout/radial6"/>
    <dgm:cxn modelId="{61C6B97D-360D-436A-9D11-D90AAB37D96A}" type="presParOf" srcId="{599C0B11-3359-476E-8D5A-FDA913BD9FF5}" destId="{1496D73B-9A6A-45A4-93F7-B5CEDEDE0EF0}" srcOrd="9" destOrd="0" presId="urn:microsoft.com/office/officeart/2005/8/layout/radial6"/>
    <dgm:cxn modelId="{9939E24B-DEE0-4DE8-A10E-912B6280382E}" type="presParOf" srcId="{599C0B11-3359-476E-8D5A-FDA913BD9FF5}" destId="{F6573F36-AFE1-4974-8D8A-08E99E19A83B}" srcOrd="10" destOrd="0" presId="urn:microsoft.com/office/officeart/2005/8/layout/radial6"/>
    <dgm:cxn modelId="{4A8C2EC3-7455-460F-BF03-9C5510DA1FAD}" type="presParOf" srcId="{599C0B11-3359-476E-8D5A-FDA913BD9FF5}" destId="{5CBA5CB2-383F-45CF-9F71-C8B0DEDCAABD}" srcOrd="11" destOrd="0" presId="urn:microsoft.com/office/officeart/2005/8/layout/radial6"/>
    <dgm:cxn modelId="{2C0C4DD9-486A-433F-9C32-5D26EDE22598}" type="presParOf" srcId="{599C0B11-3359-476E-8D5A-FDA913BD9FF5}" destId="{31037475-9597-479F-82EB-C769497F8A6F}" srcOrd="12" destOrd="0" presId="urn:microsoft.com/office/officeart/2005/8/layout/radial6"/>
    <dgm:cxn modelId="{244AC7FE-0197-4781-914B-0C4C9B35DD3B}" type="presParOf" srcId="{599C0B11-3359-476E-8D5A-FDA913BD9FF5}" destId="{31C896C7-8C16-42CC-99DC-BEDC0F6A9C22}" srcOrd="13" destOrd="0" presId="urn:microsoft.com/office/officeart/2005/8/layout/radial6"/>
    <dgm:cxn modelId="{4103D3A2-E35A-4B1F-B372-AFE457DE1547}" type="presParOf" srcId="{599C0B11-3359-476E-8D5A-FDA913BD9FF5}" destId="{A21D775F-1C4C-4D7B-A0FB-308031131D95}" srcOrd="14" destOrd="0" presId="urn:microsoft.com/office/officeart/2005/8/layout/radial6"/>
    <dgm:cxn modelId="{E5672638-1E48-4664-B82B-BAB70C103524}" type="presParOf" srcId="{599C0B11-3359-476E-8D5A-FDA913BD9FF5}" destId="{EA91CE04-D79F-4159-8D7C-E0671EB50C59}" srcOrd="15" destOrd="0" presId="urn:microsoft.com/office/officeart/2005/8/layout/radial6"/>
    <dgm:cxn modelId="{BB0A0BD4-0FED-4369-9264-5B5735B641D3}" type="presParOf" srcId="{599C0B11-3359-476E-8D5A-FDA913BD9FF5}" destId="{4E9C9CC9-B07D-42EA-9C30-E7888C8E9FF6}" srcOrd="16" destOrd="0" presId="urn:microsoft.com/office/officeart/2005/8/layout/radial6"/>
    <dgm:cxn modelId="{7719A531-0A06-4595-8084-D5B26647BAA1}" type="presParOf" srcId="{599C0B11-3359-476E-8D5A-FDA913BD9FF5}" destId="{4B2528B4-2413-448C-B7B4-7DA9B3541D67}" srcOrd="17" destOrd="0" presId="urn:microsoft.com/office/officeart/2005/8/layout/radial6"/>
    <dgm:cxn modelId="{A0CCBB09-4AC2-40C8-8FB2-69135972F1C6}" type="presParOf" srcId="{599C0B11-3359-476E-8D5A-FDA913BD9FF5}" destId="{2CFD8486-1BDF-4DA3-8931-2D0E203C0770}" srcOrd="18" destOrd="0" presId="urn:microsoft.com/office/officeart/2005/8/layout/radial6"/>
    <dgm:cxn modelId="{19A4AD3B-D973-4027-9E7B-231539B7CFBD}" type="presParOf" srcId="{599C0B11-3359-476E-8D5A-FDA913BD9FF5}" destId="{1C182D3F-21FC-441F-B35E-9D7268A8D9DD}" srcOrd="19" destOrd="0" presId="urn:microsoft.com/office/officeart/2005/8/layout/radial6"/>
    <dgm:cxn modelId="{14B5B69A-D615-4DDF-8A7F-6B106A292BE6}" type="presParOf" srcId="{599C0B11-3359-476E-8D5A-FDA913BD9FF5}" destId="{A55D5444-7FED-4434-9175-8E067D44C841}" srcOrd="20" destOrd="0" presId="urn:microsoft.com/office/officeart/2005/8/layout/radial6"/>
    <dgm:cxn modelId="{9B2BD05A-971B-418D-8B6E-702672044555}" type="presParOf" srcId="{599C0B11-3359-476E-8D5A-FDA913BD9FF5}" destId="{8D3679FE-38E4-470B-BF38-A609169A98F1}" srcOrd="21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3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6A8D27-CF42-4E98-B9B5-2F73294A38CF}">
      <dsp:nvSpPr>
        <dsp:cNvPr id="0" name=""/>
        <dsp:cNvSpPr/>
      </dsp:nvSpPr>
      <dsp:spPr>
        <a:xfrm>
          <a:off x="477728" y="215318"/>
          <a:ext cx="515021" cy="51502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Consortium</a:t>
          </a:r>
        </a:p>
      </dsp:txBody>
      <dsp:txXfrm>
        <a:off x="553151" y="290741"/>
        <a:ext cx="364175" cy="364175"/>
      </dsp:txXfrm>
    </dsp:sp>
    <dsp:sp modelId="{335ADA5E-4F86-41B5-99F4-3F0667140BE1}">
      <dsp:nvSpPr>
        <dsp:cNvPr id="0" name=""/>
        <dsp:cNvSpPr/>
      </dsp:nvSpPr>
      <dsp:spPr>
        <a:xfrm>
          <a:off x="606484" y="8487"/>
          <a:ext cx="257510" cy="25751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644195" y="46198"/>
        <a:ext cx="182088" cy="182088"/>
      </dsp:txXfrm>
    </dsp:sp>
    <dsp:sp modelId="{4AD9D3C9-124A-4569-9C2D-7FAFC537CCFB}">
      <dsp:nvSpPr>
        <dsp:cNvPr id="0" name=""/>
        <dsp:cNvSpPr/>
      </dsp:nvSpPr>
      <dsp:spPr>
        <a:xfrm>
          <a:off x="868856" y="134839"/>
          <a:ext cx="257510" cy="25751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906567" y="172550"/>
        <a:ext cx="182088" cy="182088"/>
      </dsp:txXfrm>
    </dsp:sp>
    <dsp:sp modelId="{D0CE7A17-539C-4570-92E1-A71C7EB92BD9}">
      <dsp:nvSpPr>
        <dsp:cNvPr id="0" name=""/>
        <dsp:cNvSpPr/>
      </dsp:nvSpPr>
      <dsp:spPr>
        <a:xfrm>
          <a:off x="933656" y="418748"/>
          <a:ext cx="257510" cy="25751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971367" y="456459"/>
        <a:ext cx="182088" cy="182088"/>
      </dsp:txXfrm>
    </dsp:sp>
    <dsp:sp modelId="{9F1B5868-6BCE-4C7F-B498-2AC05F07BCA3}">
      <dsp:nvSpPr>
        <dsp:cNvPr id="0" name=""/>
        <dsp:cNvSpPr/>
      </dsp:nvSpPr>
      <dsp:spPr>
        <a:xfrm>
          <a:off x="752089" y="646426"/>
          <a:ext cx="257510" cy="25751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789800" y="684137"/>
        <a:ext cx="182088" cy="182088"/>
      </dsp:txXfrm>
    </dsp:sp>
    <dsp:sp modelId="{5BA96876-142B-425C-8F42-1BA975F4A54D}">
      <dsp:nvSpPr>
        <dsp:cNvPr id="0" name=""/>
        <dsp:cNvSpPr/>
      </dsp:nvSpPr>
      <dsp:spPr>
        <a:xfrm>
          <a:off x="460878" y="646426"/>
          <a:ext cx="257510" cy="25751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498589" y="684137"/>
        <a:ext cx="182088" cy="182088"/>
      </dsp:txXfrm>
    </dsp:sp>
    <dsp:sp modelId="{D6A2DD70-1874-4E76-B2D9-D4A161B2D94C}">
      <dsp:nvSpPr>
        <dsp:cNvPr id="0" name=""/>
        <dsp:cNvSpPr/>
      </dsp:nvSpPr>
      <dsp:spPr>
        <a:xfrm>
          <a:off x="279311" y="418748"/>
          <a:ext cx="257510" cy="25751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317022" y="456459"/>
        <a:ext cx="182088" cy="182088"/>
      </dsp:txXfrm>
    </dsp:sp>
    <dsp:sp modelId="{3E83E68B-3F04-4E52-B190-5265EB902D50}">
      <dsp:nvSpPr>
        <dsp:cNvPr id="0" name=""/>
        <dsp:cNvSpPr/>
      </dsp:nvSpPr>
      <dsp:spPr>
        <a:xfrm>
          <a:off x="344112" y="134839"/>
          <a:ext cx="257510" cy="25751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381823" y="172550"/>
        <a:ext cx="182088" cy="1820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256A03-80C0-4C6A-94DC-C4C69DD9F6CF}">
      <dsp:nvSpPr>
        <dsp:cNvPr id="0" name=""/>
        <dsp:cNvSpPr/>
      </dsp:nvSpPr>
      <dsp:spPr>
        <a:xfrm>
          <a:off x="522312" y="361330"/>
          <a:ext cx="210369" cy="21036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Bank A Blockchain</a:t>
          </a:r>
        </a:p>
      </dsp:txBody>
      <dsp:txXfrm>
        <a:off x="553120" y="392138"/>
        <a:ext cx="148753" cy="148753"/>
      </dsp:txXfrm>
    </dsp:sp>
    <dsp:sp modelId="{7A9C44C7-B3C2-44C4-A798-3FBC8B51CDFD}">
      <dsp:nvSpPr>
        <dsp:cNvPr id="0" name=""/>
        <dsp:cNvSpPr/>
      </dsp:nvSpPr>
      <dsp:spPr>
        <a:xfrm rot="16200000">
          <a:off x="553826" y="272573"/>
          <a:ext cx="147341" cy="30172"/>
        </a:xfrm>
        <a:custGeom>
          <a:avLst/>
          <a:gdLst/>
          <a:ahLst/>
          <a:cxnLst/>
          <a:rect l="0" t="0" r="0" b="0"/>
          <a:pathLst>
            <a:path>
              <a:moveTo>
                <a:pt x="0" y="15086"/>
              </a:moveTo>
              <a:lnTo>
                <a:pt x="147341" y="15086"/>
              </a:lnTo>
            </a:path>
          </a:pathLst>
        </a:custGeom>
        <a:noFill/>
        <a:ln w="10795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623813" y="283976"/>
        <a:ext cx="7367" cy="7367"/>
      </dsp:txXfrm>
    </dsp:sp>
    <dsp:sp modelId="{6FA2A97F-91D4-4A01-B057-35B1176C573F}">
      <dsp:nvSpPr>
        <dsp:cNvPr id="0" name=""/>
        <dsp:cNvSpPr/>
      </dsp:nvSpPr>
      <dsp:spPr>
        <a:xfrm>
          <a:off x="522312" y="3620"/>
          <a:ext cx="210369" cy="21036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 dirty="0"/>
        </a:p>
      </dsp:txBody>
      <dsp:txXfrm>
        <a:off x="553120" y="34428"/>
        <a:ext cx="148753" cy="148753"/>
      </dsp:txXfrm>
    </dsp:sp>
    <dsp:sp modelId="{A698A8B3-B48B-4D88-AF1B-E343259706D6}">
      <dsp:nvSpPr>
        <dsp:cNvPr id="0" name=""/>
        <dsp:cNvSpPr/>
      </dsp:nvSpPr>
      <dsp:spPr>
        <a:xfrm rot="18900000">
          <a:off x="680296" y="324959"/>
          <a:ext cx="147341" cy="30172"/>
        </a:xfrm>
        <a:custGeom>
          <a:avLst/>
          <a:gdLst/>
          <a:ahLst/>
          <a:cxnLst/>
          <a:rect l="0" t="0" r="0" b="0"/>
          <a:pathLst>
            <a:path>
              <a:moveTo>
                <a:pt x="0" y="15086"/>
              </a:moveTo>
              <a:lnTo>
                <a:pt x="147341" y="15086"/>
              </a:lnTo>
            </a:path>
          </a:pathLst>
        </a:custGeom>
        <a:noFill/>
        <a:ln w="10795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50283" y="336361"/>
        <a:ext cx="7367" cy="7367"/>
      </dsp:txXfrm>
    </dsp:sp>
    <dsp:sp modelId="{081A3DC4-7E49-455E-921E-F8E5338D1983}">
      <dsp:nvSpPr>
        <dsp:cNvPr id="0" name=""/>
        <dsp:cNvSpPr/>
      </dsp:nvSpPr>
      <dsp:spPr>
        <a:xfrm>
          <a:off x="775252" y="108391"/>
          <a:ext cx="210369" cy="21036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 dirty="0"/>
        </a:p>
      </dsp:txBody>
      <dsp:txXfrm>
        <a:off x="806060" y="139199"/>
        <a:ext cx="148753" cy="148753"/>
      </dsp:txXfrm>
    </dsp:sp>
    <dsp:sp modelId="{08A33A8F-CB04-4577-A318-3386E6C343CD}">
      <dsp:nvSpPr>
        <dsp:cNvPr id="0" name=""/>
        <dsp:cNvSpPr/>
      </dsp:nvSpPr>
      <dsp:spPr>
        <a:xfrm>
          <a:off x="732682" y="451428"/>
          <a:ext cx="147341" cy="30172"/>
        </a:xfrm>
        <a:custGeom>
          <a:avLst/>
          <a:gdLst/>
          <a:ahLst/>
          <a:cxnLst/>
          <a:rect l="0" t="0" r="0" b="0"/>
          <a:pathLst>
            <a:path>
              <a:moveTo>
                <a:pt x="0" y="15086"/>
              </a:moveTo>
              <a:lnTo>
                <a:pt x="147341" y="15086"/>
              </a:lnTo>
            </a:path>
          </a:pathLst>
        </a:custGeom>
        <a:noFill/>
        <a:ln w="10795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802669" y="462831"/>
        <a:ext cx="7367" cy="7367"/>
      </dsp:txXfrm>
    </dsp:sp>
    <dsp:sp modelId="{06007D82-9D38-4434-AD86-C018B57B65E8}">
      <dsp:nvSpPr>
        <dsp:cNvPr id="0" name=""/>
        <dsp:cNvSpPr/>
      </dsp:nvSpPr>
      <dsp:spPr>
        <a:xfrm>
          <a:off x="880023" y="361330"/>
          <a:ext cx="210369" cy="21036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 dirty="0"/>
        </a:p>
      </dsp:txBody>
      <dsp:txXfrm>
        <a:off x="910831" y="392138"/>
        <a:ext cx="148753" cy="148753"/>
      </dsp:txXfrm>
    </dsp:sp>
    <dsp:sp modelId="{688F6D16-E17C-452B-9BE7-B762AD060BCC}">
      <dsp:nvSpPr>
        <dsp:cNvPr id="0" name=""/>
        <dsp:cNvSpPr/>
      </dsp:nvSpPr>
      <dsp:spPr>
        <a:xfrm rot="2700000">
          <a:off x="680296" y="577898"/>
          <a:ext cx="147341" cy="30172"/>
        </a:xfrm>
        <a:custGeom>
          <a:avLst/>
          <a:gdLst/>
          <a:ahLst/>
          <a:cxnLst/>
          <a:rect l="0" t="0" r="0" b="0"/>
          <a:pathLst>
            <a:path>
              <a:moveTo>
                <a:pt x="0" y="15086"/>
              </a:moveTo>
              <a:lnTo>
                <a:pt x="147341" y="15086"/>
              </a:lnTo>
            </a:path>
          </a:pathLst>
        </a:custGeom>
        <a:noFill/>
        <a:ln w="10795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750283" y="589301"/>
        <a:ext cx="7367" cy="7367"/>
      </dsp:txXfrm>
    </dsp:sp>
    <dsp:sp modelId="{35ED664C-4A36-438C-A54E-3D63555F93B7}">
      <dsp:nvSpPr>
        <dsp:cNvPr id="0" name=""/>
        <dsp:cNvSpPr/>
      </dsp:nvSpPr>
      <dsp:spPr>
        <a:xfrm>
          <a:off x="775252" y="614269"/>
          <a:ext cx="210369" cy="21036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 dirty="0"/>
        </a:p>
      </dsp:txBody>
      <dsp:txXfrm>
        <a:off x="806060" y="645077"/>
        <a:ext cx="148753" cy="148753"/>
      </dsp:txXfrm>
    </dsp:sp>
    <dsp:sp modelId="{8E13B68C-3CEE-453D-811D-9D23CF8FED09}">
      <dsp:nvSpPr>
        <dsp:cNvPr id="0" name=""/>
        <dsp:cNvSpPr/>
      </dsp:nvSpPr>
      <dsp:spPr>
        <a:xfrm rot="5400000">
          <a:off x="553826" y="630283"/>
          <a:ext cx="147341" cy="30172"/>
        </a:xfrm>
        <a:custGeom>
          <a:avLst/>
          <a:gdLst/>
          <a:ahLst/>
          <a:cxnLst/>
          <a:rect l="0" t="0" r="0" b="0"/>
          <a:pathLst>
            <a:path>
              <a:moveTo>
                <a:pt x="0" y="15086"/>
              </a:moveTo>
              <a:lnTo>
                <a:pt x="147341" y="15086"/>
              </a:lnTo>
            </a:path>
          </a:pathLst>
        </a:custGeom>
        <a:noFill/>
        <a:ln w="10795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623813" y="641686"/>
        <a:ext cx="7367" cy="7367"/>
      </dsp:txXfrm>
    </dsp:sp>
    <dsp:sp modelId="{8282F88C-B573-433A-8797-D7175B143E0F}">
      <dsp:nvSpPr>
        <dsp:cNvPr id="0" name=""/>
        <dsp:cNvSpPr/>
      </dsp:nvSpPr>
      <dsp:spPr>
        <a:xfrm>
          <a:off x="522312" y="719040"/>
          <a:ext cx="210369" cy="21036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 dirty="0"/>
        </a:p>
      </dsp:txBody>
      <dsp:txXfrm>
        <a:off x="553120" y="749848"/>
        <a:ext cx="148753" cy="148753"/>
      </dsp:txXfrm>
    </dsp:sp>
    <dsp:sp modelId="{BCEECC05-4FAE-43C8-B34B-64CDCE3CA549}">
      <dsp:nvSpPr>
        <dsp:cNvPr id="0" name=""/>
        <dsp:cNvSpPr/>
      </dsp:nvSpPr>
      <dsp:spPr>
        <a:xfrm rot="8100000">
          <a:off x="427357" y="577898"/>
          <a:ext cx="147341" cy="30172"/>
        </a:xfrm>
        <a:custGeom>
          <a:avLst/>
          <a:gdLst/>
          <a:ahLst/>
          <a:cxnLst/>
          <a:rect l="0" t="0" r="0" b="0"/>
          <a:pathLst>
            <a:path>
              <a:moveTo>
                <a:pt x="0" y="15086"/>
              </a:moveTo>
              <a:lnTo>
                <a:pt x="147341" y="15086"/>
              </a:lnTo>
            </a:path>
          </a:pathLst>
        </a:custGeom>
        <a:noFill/>
        <a:ln w="10795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 rot="10800000">
        <a:off x="497344" y="589301"/>
        <a:ext cx="7367" cy="7367"/>
      </dsp:txXfrm>
    </dsp:sp>
    <dsp:sp modelId="{4C307B13-5F61-40A0-BEA0-48DFF34BF35B}">
      <dsp:nvSpPr>
        <dsp:cNvPr id="0" name=""/>
        <dsp:cNvSpPr/>
      </dsp:nvSpPr>
      <dsp:spPr>
        <a:xfrm>
          <a:off x="269373" y="614269"/>
          <a:ext cx="210369" cy="21036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 dirty="0"/>
        </a:p>
      </dsp:txBody>
      <dsp:txXfrm>
        <a:off x="300181" y="645077"/>
        <a:ext cx="148753" cy="148753"/>
      </dsp:txXfrm>
    </dsp:sp>
    <dsp:sp modelId="{5F489143-001C-4E3E-9D91-06082D4F48B9}">
      <dsp:nvSpPr>
        <dsp:cNvPr id="0" name=""/>
        <dsp:cNvSpPr/>
      </dsp:nvSpPr>
      <dsp:spPr>
        <a:xfrm rot="10800000">
          <a:off x="374971" y="451428"/>
          <a:ext cx="147341" cy="30172"/>
        </a:xfrm>
        <a:custGeom>
          <a:avLst/>
          <a:gdLst/>
          <a:ahLst/>
          <a:cxnLst/>
          <a:rect l="0" t="0" r="0" b="0"/>
          <a:pathLst>
            <a:path>
              <a:moveTo>
                <a:pt x="0" y="15086"/>
              </a:moveTo>
              <a:lnTo>
                <a:pt x="147341" y="15086"/>
              </a:lnTo>
            </a:path>
          </a:pathLst>
        </a:custGeom>
        <a:noFill/>
        <a:ln w="10795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 rot="10800000">
        <a:off x="444958" y="462831"/>
        <a:ext cx="7367" cy="7367"/>
      </dsp:txXfrm>
    </dsp:sp>
    <dsp:sp modelId="{0A20789F-74AA-4FED-810B-771F6648E3DD}">
      <dsp:nvSpPr>
        <dsp:cNvPr id="0" name=""/>
        <dsp:cNvSpPr/>
      </dsp:nvSpPr>
      <dsp:spPr>
        <a:xfrm>
          <a:off x="164602" y="361330"/>
          <a:ext cx="210369" cy="21036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 dirty="0"/>
        </a:p>
      </dsp:txBody>
      <dsp:txXfrm>
        <a:off x="195410" y="392138"/>
        <a:ext cx="148753" cy="148753"/>
      </dsp:txXfrm>
    </dsp:sp>
    <dsp:sp modelId="{4D69694C-89B4-484E-AAA2-263DEC7B88A2}">
      <dsp:nvSpPr>
        <dsp:cNvPr id="0" name=""/>
        <dsp:cNvSpPr/>
      </dsp:nvSpPr>
      <dsp:spPr>
        <a:xfrm rot="13500000">
          <a:off x="427357" y="324959"/>
          <a:ext cx="147341" cy="30172"/>
        </a:xfrm>
        <a:custGeom>
          <a:avLst/>
          <a:gdLst/>
          <a:ahLst/>
          <a:cxnLst/>
          <a:rect l="0" t="0" r="0" b="0"/>
          <a:pathLst>
            <a:path>
              <a:moveTo>
                <a:pt x="0" y="15086"/>
              </a:moveTo>
              <a:lnTo>
                <a:pt x="147341" y="15086"/>
              </a:lnTo>
            </a:path>
          </a:pathLst>
        </a:custGeom>
        <a:noFill/>
        <a:ln w="10795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 rot="10800000">
        <a:off x="497344" y="336361"/>
        <a:ext cx="7367" cy="7367"/>
      </dsp:txXfrm>
    </dsp:sp>
    <dsp:sp modelId="{6653509E-23B0-4FD3-ADD3-17344061F42D}">
      <dsp:nvSpPr>
        <dsp:cNvPr id="0" name=""/>
        <dsp:cNvSpPr/>
      </dsp:nvSpPr>
      <dsp:spPr>
        <a:xfrm>
          <a:off x="269373" y="108391"/>
          <a:ext cx="210369" cy="21036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 dirty="0"/>
        </a:p>
      </dsp:txBody>
      <dsp:txXfrm>
        <a:off x="300181" y="139199"/>
        <a:ext cx="148753" cy="14875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3679FE-38E4-470B-BF38-A609169A98F1}">
      <dsp:nvSpPr>
        <dsp:cNvPr id="0" name=""/>
        <dsp:cNvSpPr/>
      </dsp:nvSpPr>
      <dsp:spPr>
        <a:xfrm>
          <a:off x="196976" y="95378"/>
          <a:ext cx="780170" cy="780170"/>
        </a:xfrm>
        <a:prstGeom prst="blockArc">
          <a:avLst>
            <a:gd name="adj1" fmla="val 13114286"/>
            <a:gd name="adj2" fmla="val 16200000"/>
            <a:gd name="adj3" fmla="val 3792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FD8486-1BDF-4DA3-8931-2D0E203C0770}">
      <dsp:nvSpPr>
        <dsp:cNvPr id="0" name=""/>
        <dsp:cNvSpPr/>
      </dsp:nvSpPr>
      <dsp:spPr>
        <a:xfrm>
          <a:off x="196976" y="95378"/>
          <a:ext cx="780170" cy="780170"/>
        </a:xfrm>
        <a:prstGeom prst="blockArc">
          <a:avLst>
            <a:gd name="adj1" fmla="val 10028571"/>
            <a:gd name="adj2" fmla="val 13114286"/>
            <a:gd name="adj3" fmla="val 3792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91CE04-D79F-4159-8D7C-E0671EB50C59}">
      <dsp:nvSpPr>
        <dsp:cNvPr id="0" name=""/>
        <dsp:cNvSpPr/>
      </dsp:nvSpPr>
      <dsp:spPr>
        <a:xfrm>
          <a:off x="196976" y="95378"/>
          <a:ext cx="780170" cy="780170"/>
        </a:xfrm>
        <a:prstGeom prst="blockArc">
          <a:avLst>
            <a:gd name="adj1" fmla="val 6942857"/>
            <a:gd name="adj2" fmla="val 10028571"/>
            <a:gd name="adj3" fmla="val 3792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037475-9597-479F-82EB-C769497F8A6F}">
      <dsp:nvSpPr>
        <dsp:cNvPr id="0" name=""/>
        <dsp:cNvSpPr/>
      </dsp:nvSpPr>
      <dsp:spPr>
        <a:xfrm>
          <a:off x="196976" y="95378"/>
          <a:ext cx="780170" cy="780170"/>
        </a:xfrm>
        <a:prstGeom prst="blockArc">
          <a:avLst>
            <a:gd name="adj1" fmla="val 3857143"/>
            <a:gd name="adj2" fmla="val 6942857"/>
            <a:gd name="adj3" fmla="val 3792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496D73B-9A6A-45A4-93F7-B5CEDEDE0EF0}">
      <dsp:nvSpPr>
        <dsp:cNvPr id="0" name=""/>
        <dsp:cNvSpPr/>
      </dsp:nvSpPr>
      <dsp:spPr>
        <a:xfrm>
          <a:off x="196976" y="95378"/>
          <a:ext cx="780170" cy="780170"/>
        </a:xfrm>
        <a:prstGeom prst="blockArc">
          <a:avLst>
            <a:gd name="adj1" fmla="val 771429"/>
            <a:gd name="adj2" fmla="val 3857143"/>
            <a:gd name="adj3" fmla="val 3792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15C4A1-730D-40A2-A779-ECE596BAA92C}">
      <dsp:nvSpPr>
        <dsp:cNvPr id="0" name=""/>
        <dsp:cNvSpPr/>
      </dsp:nvSpPr>
      <dsp:spPr>
        <a:xfrm>
          <a:off x="196976" y="95378"/>
          <a:ext cx="780170" cy="780170"/>
        </a:xfrm>
        <a:prstGeom prst="blockArc">
          <a:avLst>
            <a:gd name="adj1" fmla="val 19285714"/>
            <a:gd name="adj2" fmla="val 771429"/>
            <a:gd name="adj3" fmla="val 3792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13294B-C76C-4EDE-8276-BC91BC6CDF6F}">
      <dsp:nvSpPr>
        <dsp:cNvPr id="0" name=""/>
        <dsp:cNvSpPr/>
      </dsp:nvSpPr>
      <dsp:spPr>
        <a:xfrm>
          <a:off x="196976" y="95378"/>
          <a:ext cx="780170" cy="780170"/>
        </a:xfrm>
        <a:prstGeom prst="blockArc">
          <a:avLst>
            <a:gd name="adj1" fmla="val 16200000"/>
            <a:gd name="adj2" fmla="val 19285714"/>
            <a:gd name="adj3" fmla="val 3792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D079BC-D22E-4791-80C1-95AD963A8A73}">
      <dsp:nvSpPr>
        <dsp:cNvPr id="0" name=""/>
        <dsp:cNvSpPr/>
      </dsp:nvSpPr>
      <dsp:spPr>
        <a:xfrm>
          <a:off x="440296" y="338698"/>
          <a:ext cx="293531" cy="29353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Public blockchain</a:t>
          </a:r>
        </a:p>
      </dsp:txBody>
      <dsp:txXfrm>
        <a:off x="483283" y="381685"/>
        <a:ext cx="207557" cy="207557"/>
      </dsp:txXfrm>
    </dsp:sp>
    <dsp:sp modelId="{E0F672E3-28FB-4253-880D-84AB5CD6AC9D}">
      <dsp:nvSpPr>
        <dsp:cNvPr id="0" name=""/>
        <dsp:cNvSpPr/>
      </dsp:nvSpPr>
      <dsp:spPr>
        <a:xfrm>
          <a:off x="484326" y="40"/>
          <a:ext cx="205471" cy="20547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514417" y="30131"/>
        <a:ext cx="145289" cy="145289"/>
      </dsp:txXfrm>
    </dsp:sp>
    <dsp:sp modelId="{5A6EEEE5-BAC8-4D18-90D8-FDB6E208F0CA}">
      <dsp:nvSpPr>
        <dsp:cNvPr id="0" name=""/>
        <dsp:cNvSpPr/>
      </dsp:nvSpPr>
      <dsp:spPr>
        <a:xfrm>
          <a:off x="783523" y="144126"/>
          <a:ext cx="205471" cy="20547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813614" y="174217"/>
        <a:ext cx="145289" cy="145289"/>
      </dsp:txXfrm>
    </dsp:sp>
    <dsp:sp modelId="{F6DD4101-3EE9-4A1D-A3E5-6F4AA62DA6A3}">
      <dsp:nvSpPr>
        <dsp:cNvPr id="0" name=""/>
        <dsp:cNvSpPr/>
      </dsp:nvSpPr>
      <dsp:spPr>
        <a:xfrm>
          <a:off x="857419" y="467884"/>
          <a:ext cx="205471" cy="20547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887510" y="497975"/>
        <a:ext cx="145289" cy="145289"/>
      </dsp:txXfrm>
    </dsp:sp>
    <dsp:sp modelId="{F6573F36-AFE1-4974-8D8A-08E99E19A83B}">
      <dsp:nvSpPr>
        <dsp:cNvPr id="0" name=""/>
        <dsp:cNvSpPr/>
      </dsp:nvSpPr>
      <dsp:spPr>
        <a:xfrm>
          <a:off x="650368" y="727518"/>
          <a:ext cx="205471" cy="20547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680459" y="757609"/>
        <a:ext cx="145289" cy="145289"/>
      </dsp:txXfrm>
    </dsp:sp>
    <dsp:sp modelId="{31C896C7-8C16-42CC-99DC-BEDC0F6A9C22}">
      <dsp:nvSpPr>
        <dsp:cNvPr id="0" name=""/>
        <dsp:cNvSpPr/>
      </dsp:nvSpPr>
      <dsp:spPr>
        <a:xfrm>
          <a:off x="318284" y="727518"/>
          <a:ext cx="205471" cy="20547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348375" y="757609"/>
        <a:ext cx="145289" cy="145289"/>
      </dsp:txXfrm>
    </dsp:sp>
    <dsp:sp modelId="{4E9C9CC9-B07D-42EA-9C30-E7888C8E9FF6}">
      <dsp:nvSpPr>
        <dsp:cNvPr id="0" name=""/>
        <dsp:cNvSpPr/>
      </dsp:nvSpPr>
      <dsp:spPr>
        <a:xfrm>
          <a:off x="111232" y="467884"/>
          <a:ext cx="205471" cy="20547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141323" y="497975"/>
        <a:ext cx="145289" cy="145289"/>
      </dsp:txXfrm>
    </dsp:sp>
    <dsp:sp modelId="{1C182D3F-21FC-441F-B35E-9D7268A8D9DD}">
      <dsp:nvSpPr>
        <dsp:cNvPr id="0" name=""/>
        <dsp:cNvSpPr/>
      </dsp:nvSpPr>
      <dsp:spPr>
        <a:xfrm>
          <a:off x="185128" y="144126"/>
          <a:ext cx="205471" cy="20547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215219" y="174217"/>
        <a:ext cx="145289" cy="1452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E8B2AA-9410-4B61-8C2D-602893F81115}" type="datetimeFigureOut">
              <a:rPr lang="nl-NL" smtClean="0"/>
              <a:t>4-4-2017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1B0119-0FD7-4CB5-B963-3185D795D452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7115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7180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2702" y="1664849"/>
            <a:ext cx="12236199" cy="1481688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365006" indent="0">
              <a:buFontTx/>
              <a:buNone/>
              <a:defRPr sz="2930">
                <a:latin typeface="+mj-lt"/>
              </a:defRPr>
            </a:lvl2pPr>
            <a:lvl3pPr marL="205153" indent="0">
              <a:buNone/>
              <a:defRPr/>
            </a:lvl3pPr>
            <a:lvl4pPr marL="410303" indent="0">
              <a:buNone/>
              <a:defRPr/>
            </a:lvl4pPr>
            <a:lvl5pPr marL="615457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	Third level</a:t>
            </a:r>
          </a:p>
        </p:txBody>
      </p:sp>
    </p:spTree>
    <p:extLst>
      <p:ext uri="{BB962C8B-B14F-4D97-AF65-F5344CB8AC3E}">
        <p14:creationId xmlns:p14="http://schemas.microsoft.com/office/powerpoint/2010/main" val="2141626971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2702" y="2917842"/>
            <a:ext cx="12236199" cy="1079655"/>
          </a:xfrm>
          <a:noFill/>
        </p:spPr>
        <p:txBody>
          <a:bodyPr tIns="91440" bIns="91440" anchor="t" anchorCtr="0">
            <a:spAutoFit/>
          </a:bodyPr>
          <a:lstStyle>
            <a:lvl1pPr>
              <a:defRPr sz="6462" spc="-9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06246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2702" y="2917842"/>
            <a:ext cx="12236199" cy="1079655"/>
          </a:xfrm>
          <a:noFill/>
        </p:spPr>
        <p:txBody>
          <a:bodyPr tIns="91440" bIns="91440" anchor="t" anchorCtr="0">
            <a:spAutoFit/>
          </a:bodyPr>
          <a:lstStyle>
            <a:lvl1pPr>
              <a:defRPr sz="6462" spc="-9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267241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2702" y="2917842"/>
            <a:ext cx="12236199" cy="1079655"/>
          </a:xfrm>
          <a:noFill/>
        </p:spPr>
        <p:txBody>
          <a:bodyPr tIns="91440" bIns="91440" anchor="t" anchorCtr="0">
            <a:spAutoFit/>
          </a:bodyPr>
          <a:lstStyle>
            <a:lvl1pPr>
              <a:defRPr sz="6462" spc="-9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506961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0-50 Right Photo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2703" y="1704074"/>
            <a:ext cx="5647475" cy="1825371"/>
          </a:xfrm>
        </p:spPr>
        <p:txBody>
          <a:bodyPr>
            <a:spAutoFit/>
          </a:bodyPr>
          <a:lstStyle>
            <a:lvl1pPr>
              <a:defRPr sz="5923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402435" y="2"/>
            <a:ext cx="6399166" cy="959854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435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8968098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881765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32810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42955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3672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3" y="1664846"/>
            <a:ext cx="12801600" cy="793635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853" tIns="41853" rIns="41853" bIns="418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368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16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82704" y="1676252"/>
            <a:ext cx="12236198" cy="1810432"/>
          </a:xfrm>
        </p:spPr>
        <p:txBody>
          <a:bodyPr/>
          <a:lstStyle>
            <a:lvl1pPr marL="0" indent="0">
              <a:buNone/>
              <a:defRPr sz="2961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1100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2464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3101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9431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94414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82702" y="1664849"/>
            <a:ext cx="12236199" cy="2212016"/>
          </a:xfrm>
          <a:prstGeom prst="rect">
            <a:avLst/>
          </a:prstGeom>
        </p:spPr>
        <p:txBody>
          <a:bodyPr/>
          <a:lstStyle>
            <a:lvl1pPr marL="260715" indent="-260715">
              <a:buClr>
                <a:schemeClr val="tx1"/>
              </a:buClr>
              <a:buSzPct val="90000"/>
              <a:buFont typeface="Arial" pitchFamily="34" charset="0"/>
              <a:buChar char="•"/>
              <a:defRPr sz="323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12879" indent="-252167">
              <a:buClr>
                <a:schemeClr val="tx1"/>
              </a:buClr>
              <a:buSzPct val="90000"/>
              <a:buFont typeface="Arial" pitchFamily="34" charset="0"/>
              <a:buChar char="•"/>
              <a:defRPr sz="287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773594" indent="-260715">
              <a:buClr>
                <a:schemeClr val="tx1"/>
              </a:buClr>
              <a:buSzPct val="90000"/>
              <a:buFont typeface="Arial" pitchFamily="34" charset="0"/>
              <a:buChar char="•"/>
              <a:defRPr sz="251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978746" indent="-205153">
              <a:buClr>
                <a:schemeClr val="tx1"/>
              </a:buClr>
              <a:buSzPct val="90000"/>
              <a:buFont typeface="Arial" pitchFamily="34" charset="0"/>
              <a:buChar char="•"/>
              <a:defRPr sz="215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183897" indent="-205153">
              <a:buClr>
                <a:schemeClr val="tx1"/>
              </a:buClr>
              <a:buSzPct val="90000"/>
              <a:buFont typeface="Arial" pitchFamily="34" charset="0"/>
              <a:buChar char="•"/>
              <a:defRPr sz="179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8734428"/>
            <a:ext cx="12801602" cy="86677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322" spc="-46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392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2702" y="1664847"/>
            <a:ext cx="12236199" cy="1836657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795"/>
            </a:lvl2pPr>
            <a:lvl3pPr marL="205153" indent="0">
              <a:buNone/>
              <a:defRPr/>
            </a:lvl3pPr>
            <a:lvl4pPr marL="410303" indent="0">
              <a:buNone/>
              <a:defRPr/>
            </a:lvl4pPr>
            <a:lvl5pPr marL="61545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61622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Fact or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80" y="2244726"/>
            <a:ext cx="11541442" cy="831217"/>
          </a:xfrm>
        </p:spPr>
        <p:txBody>
          <a:bodyPr/>
          <a:lstStyle>
            <a:lvl1pPr>
              <a:defRPr sz="4027">
                <a:latin typeface="+mj-lt"/>
              </a:defRPr>
            </a:lvl1pPr>
          </a:lstStyle>
          <a:p>
            <a:r>
              <a:rPr lang="en-US" dirty="0"/>
              <a:t>Title of fact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30080" y="3075943"/>
            <a:ext cx="11541442" cy="2289281"/>
          </a:xfrm>
        </p:spPr>
        <p:txBody>
          <a:bodyPr/>
          <a:lstStyle>
            <a:lvl1pPr marL="0" indent="0">
              <a:buNone/>
              <a:defRPr sz="15196" baseline="0">
                <a:solidFill>
                  <a:schemeClr val="bg2"/>
                </a:solidFill>
                <a:latin typeface="+mj-lt"/>
              </a:defRPr>
            </a:lvl1pPr>
            <a:lvl2pPr>
              <a:defRPr sz="4027">
                <a:latin typeface="+mj-lt"/>
              </a:defRPr>
            </a:lvl2pPr>
            <a:lvl3pPr>
              <a:defRPr sz="4027">
                <a:latin typeface="+mj-lt"/>
              </a:defRPr>
            </a:lvl3pPr>
            <a:lvl4pPr>
              <a:defRPr sz="4027">
                <a:latin typeface="+mj-lt"/>
              </a:defRPr>
            </a:lvl4pPr>
            <a:lvl5pPr>
              <a:defRPr sz="4027">
                <a:latin typeface="+mj-lt"/>
              </a:defRPr>
            </a:lvl5pPr>
          </a:lstStyle>
          <a:p>
            <a:pPr lvl="0"/>
            <a:r>
              <a:rPr lang="en-US" dirty="0"/>
              <a:t>Number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30080" y="6108052"/>
            <a:ext cx="11541442" cy="742447"/>
          </a:xfrm>
        </p:spPr>
        <p:txBody>
          <a:bodyPr/>
          <a:lstStyle>
            <a:lvl1pPr marL="0" indent="0">
              <a:buNone/>
              <a:defRPr sz="4027">
                <a:latin typeface="+mj-lt"/>
              </a:defRPr>
            </a:lvl1pPr>
            <a:lvl2pPr>
              <a:defRPr sz="4027">
                <a:latin typeface="+mj-lt"/>
              </a:defRPr>
            </a:lvl2pPr>
            <a:lvl3pPr>
              <a:defRPr sz="4027">
                <a:latin typeface="+mj-lt"/>
              </a:defRPr>
            </a:lvl3pPr>
            <a:lvl4pPr>
              <a:defRPr sz="4027">
                <a:latin typeface="+mj-lt"/>
              </a:defRPr>
            </a:lvl4pPr>
            <a:lvl5pPr>
              <a:defRPr sz="4027">
                <a:latin typeface="+mj-lt"/>
              </a:defRPr>
            </a:lvl5pPr>
          </a:lstStyle>
          <a:p>
            <a:pPr lvl="0"/>
            <a:r>
              <a:rPr lang="en-US" dirty="0"/>
              <a:t>Third line of fac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796719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build="p"/>
      <p:bldP spid="11" grpId="0" build="p">
        <p:tmplLst>
          <p:tmpl lvl="1">
            <p:tnLst>
              <p:par>
                <p:cTn presetID="42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" y="1706880"/>
            <a:ext cx="2560320" cy="341376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>
            <a:normAutofit/>
          </a:bodyPr>
          <a:lstStyle>
            <a:lvl1pPr>
              <a:defRPr sz="28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494520" y="8898892"/>
            <a:ext cx="2987040" cy="511175"/>
          </a:xfrm>
        </p:spPr>
        <p:txBody>
          <a:bodyPr/>
          <a:lstStyle>
            <a:lvl1pPr>
              <a:defRPr sz="1120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560320" y="1706880"/>
            <a:ext cx="9601200" cy="6827519"/>
          </a:xfrm>
          <a:noFill/>
        </p:spPr>
        <p:txBody>
          <a:bodyPr lIns="182880" tIns="91440" rIns="91440" bIns="91440">
            <a:normAutofit/>
          </a:bodyPr>
          <a:lstStyle>
            <a:lvl1pPr marL="319996" indent="-319996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39994" indent="-315552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59991" indent="-319996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79988" indent="-319996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99985" indent="-319996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523707806"/>
      </p:ext>
    </p:extLst>
  </p:cSld>
  <p:clrMapOvr>
    <a:masterClrMapping/>
  </p:clrMapOvr>
  <p:transition>
    <p:fade/>
  </p:transition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ANIMAT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5"/>
          <p:cNvSpPr>
            <a:spLocks noChangeArrowheads="1"/>
          </p:cNvSpPr>
          <p:nvPr userDrawn="1"/>
        </p:nvSpPr>
        <p:spPr bwMode="auto">
          <a:xfrm>
            <a:off x="3268" y="6033983"/>
            <a:ext cx="12798332" cy="357157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94125" tIns="47062" rIns="94125" bIns="47062" numCol="1" anchor="t" anchorCtr="0" compatLnSpc="1">
            <a:prstTxWarp prst="textNoShape">
              <a:avLst/>
            </a:prstTxWarp>
          </a:bodyPr>
          <a:lstStyle/>
          <a:p>
            <a:endParaRPr lang="en-US" sz="1853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0" name="Rectangle 7"/>
          <p:cNvSpPr>
            <a:spLocks noChangeArrowheads="1"/>
          </p:cNvSpPr>
          <p:nvPr userDrawn="1"/>
        </p:nvSpPr>
        <p:spPr bwMode="auto">
          <a:xfrm>
            <a:off x="0" y="8021340"/>
            <a:ext cx="12798333" cy="1584220"/>
          </a:xfrm>
          <a:prstGeom prst="rect">
            <a:avLst/>
          </a:prstGeom>
          <a:solidFill>
            <a:srgbClr val="00188F"/>
          </a:solidFill>
          <a:ln>
            <a:noFill/>
          </a:ln>
          <a:extLst/>
        </p:spPr>
        <p:txBody>
          <a:bodyPr vert="horz" wrap="square" lIns="94125" tIns="47062" rIns="94125" bIns="47062" numCol="1" anchor="t" anchorCtr="0" compatLnSpc="1">
            <a:prstTxWarp prst="textNoShape">
              <a:avLst/>
            </a:prstTxWarp>
          </a:bodyPr>
          <a:lstStyle/>
          <a:p>
            <a:endParaRPr lang="en-US" sz="1853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1" name="Rectangle 8"/>
          <p:cNvSpPr>
            <a:spLocks noChangeArrowheads="1"/>
          </p:cNvSpPr>
          <p:nvPr userDrawn="1"/>
        </p:nvSpPr>
        <p:spPr bwMode="auto">
          <a:xfrm>
            <a:off x="3269" y="4680749"/>
            <a:ext cx="12795066" cy="387883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125" tIns="47062" rIns="94125" bIns="47062" numCol="1" anchor="t" anchorCtr="0" compatLnSpc="1">
            <a:prstTxWarp prst="textNoShape">
              <a:avLst/>
            </a:prstTxWarp>
          </a:bodyPr>
          <a:lstStyle/>
          <a:p>
            <a:endParaRPr lang="en-US" sz="1853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2" name="Rectangle 21"/>
          <p:cNvSpPr/>
          <p:nvPr userDrawn="1"/>
        </p:nvSpPr>
        <p:spPr bwMode="white">
          <a:xfrm>
            <a:off x="0" y="-437"/>
            <a:ext cx="12800946" cy="9602072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8249" tIns="150599" rIns="188249" bIns="15059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59887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71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6"/>
          <p:cNvSpPr>
            <a:spLocks noChangeArrowheads="1"/>
          </p:cNvSpPr>
          <p:nvPr userDrawn="1"/>
        </p:nvSpPr>
        <p:spPr bwMode="auto">
          <a:xfrm>
            <a:off x="3268" y="6033983"/>
            <a:ext cx="12798332" cy="3571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125" tIns="47062" rIns="94125" bIns="47062" numCol="1" anchor="t" anchorCtr="0" compatLnSpc="1">
            <a:prstTxWarp prst="textNoShape">
              <a:avLst/>
            </a:prstTxWarp>
          </a:bodyPr>
          <a:lstStyle/>
          <a:p>
            <a:endParaRPr lang="en-US" sz="1853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82767" y="2917862"/>
            <a:ext cx="9412395" cy="2510326"/>
          </a:xfrm>
          <a:noFill/>
        </p:spPr>
        <p:txBody>
          <a:bodyPr lIns="146304" tIns="91440" rIns="146304" bIns="91440" anchor="t" anchorCtr="0"/>
          <a:lstStyle>
            <a:lvl1pPr>
              <a:defRPr sz="5559" spc="-103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82766" y="5430004"/>
            <a:ext cx="7529904" cy="250925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9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82058" y="658094"/>
            <a:ext cx="1490645" cy="426759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53"/>
            </a:p>
          </p:txBody>
        </p:sp>
      </p:grp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82768" y="8609061"/>
            <a:ext cx="3764984" cy="580672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2059">
                <a:latin typeface="+mn-lt"/>
              </a:defRPr>
            </a:lvl1pPr>
            <a:lvl2pPr marL="352981" indent="0">
              <a:buNone/>
              <a:defRPr sz="2059"/>
            </a:lvl2pPr>
            <a:lvl3pPr marL="588302" indent="0">
              <a:buNone/>
              <a:defRPr sz="2059"/>
            </a:lvl3pPr>
            <a:lvl4pPr marL="823623" indent="0">
              <a:buNone/>
              <a:defRPr sz="2059"/>
            </a:lvl4pPr>
            <a:lvl5pPr marL="1058944" indent="0">
              <a:buNone/>
              <a:defRPr sz="2059"/>
            </a:lvl5pPr>
          </a:lstStyle>
          <a:p>
            <a:pPr lvl="0"/>
            <a:r>
              <a:rPr lang="en-US" dirty="0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2076145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9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38" dur="9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9" grpId="0"/>
      <p:bldP spid="9" grpId="1"/>
      <p:bldP spid="9" grpId="2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5" grpId="2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  <p:bldP spid="13" grpId="2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losing_Slide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82702" y="8640262"/>
            <a:ext cx="12236198" cy="41506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8249" tIns="150599" rIns="188249" bIns="150599" numCol="1" anchor="t" anchorCtr="0" compatLnSpc="1">
            <a:prstTxWarp prst="textNoShape">
              <a:avLst/>
            </a:prstTxWarp>
            <a:spAutoFit/>
          </a:bodyPr>
          <a:lstStyle/>
          <a:p>
            <a:pPr defTabSz="959699" eaLnBrk="0" hangingPunct="0"/>
            <a:r>
              <a:rPr lang="en-US" sz="721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0756" y="2917836"/>
            <a:ext cx="6300086" cy="3765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7909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2702" y="4024106"/>
            <a:ext cx="5035666" cy="1552989"/>
          </a:xfrm>
        </p:spPr>
        <p:txBody>
          <a:bodyPr wrap="square" anchor="ctr">
            <a:spAutoFit/>
          </a:bodyPr>
          <a:lstStyle>
            <a:lvl1pPr>
              <a:defRPr sz="494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601068" y="1"/>
            <a:ext cx="7200532" cy="959854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46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01068" y="1"/>
            <a:ext cx="7200532" cy="960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7679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2703" y="2917844"/>
            <a:ext cx="12236199" cy="12106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408" spc="-103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24641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2702" y="1664848"/>
            <a:ext cx="12236199" cy="1847750"/>
          </a:xfrm>
        </p:spPr>
        <p:txBody>
          <a:bodyPr>
            <a:spAutoFit/>
          </a:bodyPr>
          <a:lstStyle>
            <a:lvl1pPr>
              <a:defRPr sz="323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164789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2702" y="1664848"/>
            <a:ext cx="12236199" cy="1847750"/>
          </a:xfrm>
        </p:spPr>
        <p:txBody>
          <a:bodyPr>
            <a:spAutoFit/>
          </a:bodyPr>
          <a:lstStyle>
            <a:lvl1pPr>
              <a:defRPr sz="323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2683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2703" y="1664847"/>
            <a:ext cx="5647475" cy="1786836"/>
          </a:xfrm>
        </p:spPr>
        <p:txBody>
          <a:bodyPr wrap="square">
            <a:spAutoFit/>
          </a:bodyPr>
          <a:lstStyle>
            <a:lvl1pPr marL="0" indent="0">
              <a:spcBef>
                <a:spcPts val="1098"/>
              </a:spcBef>
              <a:buClr>
                <a:schemeClr val="tx1"/>
              </a:buClr>
              <a:buFont typeface="Wingdings" pitchFamily="2" charset="2"/>
              <a:buNone/>
              <a:defRPr sz="323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795"/>
            </a:lvl2pPr>
            <a:lvl3pPr marL="208002" indent="0">
              <a:buNone/>
              <a:tabLst/>
              <a:defRPr sz="1795"/>
            </a:lvl3pPr>
            <a:lvl4pPr marL="413154" indent="0">
              <a:buNone/>
              <a:defRPr/>
            </a:lvl4pPr>
            <a:lvl5pPr marL="61545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871426" y="1664847"/>
            <a:ext cx="5647475" cy="1786836"/>
          </a:xfrm>
        </p:spPr>
        <p:txBody>
          <a:bodyPr wrap="square">
            <a:spAutoFit/>
          </a:bodyPr>
          <a:lstStyle>
            <a:lvl1pPr marL="0" indent="0">
              <a:spcBef>
                <a:spcPts val="1098"/>
              </a:spcBef>
              <a:buClr>
                <a:schemeClr val="tx1"/>
              </a:buClr>
              <a:buFont typeface="Wingdings" pitchFamily="2" charset="2"/>
              <a:buNone/>
              <a:defRPr sz="323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795"/>
            </a:lvl2pPr>
            <a:lvl3pPr marL="208002" indent="0">
              <a:buNone/>
              <a:tabLst/>
              <a:defRPr sz="1795"/>
            </a:lvl3pPr>
            <a:lvl4pPr marL="413154" indent="0">
              <a:buNone/>
              <a:defRPr/>
            </a:lvl4pPr>
            <a:lvl5pPr marL="61545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654449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2703" y="1664847"/>
            <a:ext cx="5647475" cy="1786836"/>
          </a:xfrm>
        </p:spPr>
        <p:txBody>
          <a:bodyPr wrap="square">
            <a:spAutoFit/>
          </a:bodyPr>
          <a:lstStyle>
            <a:lvl1pPr marL="0" indent="0">
              <a:spcBef>
                <a:spcPts val="1098"/>
              </a:spcBef>
              <a:buClr>
                <a:schemeClr val="tx1"/>
              </a:buClr>
              <a:buFont typeface="Wingdings" pitchFamily="2" charset="2"/>
              <a:buNone/>
              <a:defRPr sz="3230"/>
            </a:lvl1pPr>
            <a:lvl2pPr marL="0" indent="0">
              <a:buNone/>
              <a:defRPr sz="1795"/>
            </a:lvl2pPr>
            <a:lvl3pPr marL="208002" indent="0">
              <a:buNone/>
              <a:tabLst/>
              <a:defRPr sz="1795"/>
            </a:lvl3pPr>
            <a:lvl4pPr marL="413154" indent="0">
              <a:buNone/>
              <a:defRPr/>
            </a:lvl4pPr>
            <a:lvl5pPr marL="61545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871426" y="1664847"/>
            <a:ext cx="5647475" cy="1786836"/>
          </a:xfrm>
        </p:spPr>
        <p:txBody>
          <a:bodyPr wrap="square">
            <a:spAutoFit/>
          </a:bodyPr>
          <a:lstStyle>
            <a:lvl1pPr marL="0" indent="0">
              <a:spcBef>
                <a:spcPts val="1098"/>
              </a:spcBef>
              <a:buClr>
                <a:schemeClr val="tx1"/>
              </a:buClr>
              <a:buFont typeface="Wingdings" pitchFamily="2" charset="2"/>
              <a:buNone/>
              <a:defRPr sz="3230"/>
            </a:lvl1pPr>
            <a:lvl2pPr marL="0" indent="0">
              <a:buNone/>
              <a:defRPr sz="1795"/>
            </a:lvl2pPr>
            <a:lvl3pPr marL="208002" indent="0">
              <a:buNone/>
              <a:tabLst/>
              <a:defRPr sz="1795"/>
            </a:lvl3pPr>
            <a:lvl4pPr marL="413154" indent="0">
              <a:buNone/>
              <a:defRPr/>
            </a:lvl4pPr>
            <a:lvl5pPr marL="61545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174594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2703" y="1664847"/>
            <a:ext cx="5647475" cy="1797993"/>
          </a:xfrm>
        </p:spPr>
        <p:txBody>
          <a:bodyPr wrap="square">
            <a:spAutoFit/>
          </a:bodyPr>
          <a:lstStyle>
            <a:lvl1pPr marL="257866" indent="-257866">
              <a:spcBef>
                <a:spcPts val="1098"/>
              </a:spcBef>
              <a:buClr>
                <a:schemeClr val="tx2"/>
              </a:buClr>
              <a:buFont typeface="Arial" pitchFamily="34" charset="0"/>
              <a:buChar char="•"/>
              <a:defRPr sz="287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476682" indent="-209275">
              <a:defRPr sz="2155"/>
            </a:lvl2pPr>
            <a:lvl3pPr marL="627827" indent="-151144">
              <a:tabLst/>
              <a:defRPr sz="1795"/>
            </a:lvl3pPr>
            <a:lvl4pPr marL="790595" indent="-162770">
              <a:defRPr/>
            </a:lvl4pPr>
            <a:lvl5pPr marL="941739" indent="-15114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871426" y="1664847"/>
            <a:ext cx="5647475" cy="1797993"/>
          </a:xfrm>
        </p:spPr>
        <p:txBody>
          <a:bodyPr wrap="square">
            <a:spAutoFit/>
          </a:bodyPr>
          <a:lstStyle>
            <a:lvl1pPr marL="257866" indent="-257866">
              <a:spcBef>
                <a:spcPts val="1098"/>
              </a:spcBef>
              <a:buClr>
                <a:schemeClr val="tx2"/>
              </a:buClr>
              <a:buFont typeface="Arial" pitchFamily="34" charset="0"/>
              <a:buChar char="•"/>
              <a:defRPr sz="287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476682" indent="-209275">
              <a:defRPr sz="2155"/>
            </a:lvl2pPr>
            <a:lvl3pPr marL="627827" indent="-151144">
              <a:tabLst/>
              <a:defRPr sz="1795"/>
            </a:lvl3pPr>
            <a:lvl4pPr marL="790595" indent="-162770">
              <a:defRPr/>
            </a:lvl4pPr>
            <a:lvl5pPr marL="941739" indent="-15114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66633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2703" y="1664847"/>
            <a:ext cx="5647475" cy="1797993"/>
          </a:xfrm>
        </p:spPr>
        <p:txBody>
          <a:bodyPr wrap="square">
            <a:spAutoFit/>
          </a:bodyPr>
          <a:lstStyle>
            <a:lvl1pPr marL="257866" indent="-257866">
              <a:spcBef>
                <a:spcPts val="1098"/>
              </a:spcBef>
              <a:buClr>
                <a:schemeClr val="tx1"/>
              </a:buClr>
              <a:buFont typeface="Arial" pitchFamily="34" charset="0"/>
              <a:buChar char="•"/>
              <a:defRPr sz="2871"/>
            </a:lvl1pPr>
            <a:lvl2pPr marL="476682" indent="-209275">
              <a:defRPr sz="2155"/>
            </a:lvl2pPr>
            <a:lvl3pPr marL="627827" indent="-151144">
              <a:tabLst/>
              <a:defRPr sz="1795"/>
            </a:lvl3pPr>
            <a:lvl4pPr marL="790595" indent="-162770">
              <a:defRPr/>
            </a:lvl4pPr>
            <a:lvl5pPr marL="941739" indent="-15114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871426" y="1664847"/>
            <a:ext cx="5647475" cy="1797993"/>
          </a:xfrm>
        </p:spPr>
        <p:txBody>
          <a:bodyPr wrap="square">
            <a:spAutoFit/>
          </a:bodyPr>
          <a:lstStyle>
            <a:lvl1pPr marL="257866" indent="-257866">
              <a:spcBef>
                <a:spcPts val="1098"/>
              </a:spcBef>
              <a:buClr>
                <a:schemeClr val="tx1"/>
              </a:buClr>
              <a:buFont typeface="Arial" pitchFamily="34" charset="0"/>
              <a:buChar char="•"/>
              <a:defRPr sz="2871"/>
            </a:lvl1pPr>
            <a:lvl2pPr marL="476682" indent="-209275">
              <a:defRPr sz="2155"/>
            </a:lvl2pPr>
            <a:lvl3pPr marL="627827" indent="-151144">
              <a:tabLst/>
              <a:defRPr sz="1795"/>
            </a:lvl3pPr>
            <a:lvl4pPr marL="790595" indent="-162770">
              <a:defRPr/>
            </a:lvl4pPr>
            <a:lvl5pPr marL="941739" indent="-15114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64508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108832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2702" y="405315"/>
            <a:ext cx="12238632" cy="1259532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2705" y="1664852"/>
            <a:ext cx="12236196" cy="189757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 rot="5400000">
            <a:off x="8468928" y="4340843"/>
            <a:ext cx="9602072" cy="92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366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</p:sldLayoutIdLst>
  <p:transition>
    <p:fade/>
  </p:transition>
  <p:hf hdr="0" ftr="0"/>
  <p:txStyles>
    <p:titleStyle>
      <a:lvl1pPr algn="l" defTabSz="837068" rtl="0" eaLnBrk="1" latinLnBrk="0" hangingPunct="1">
        <a:lnSpc>
          <a:spcPct val="90000"/>
        </a:lnSpc>
        <a:spcBef>
          <a:spcPct val="0"/>
        </a:spcBef>
        <a:buNone/>
        <a:defRPr lang="en-US" sz="4308" b="0" kern="1200" cap="none" spc="-9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07728" marR="0" indent="-307728" algn="l" defTabSz="83706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59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24277" marR="0" indent="-216550" algn="l" defTabSz="83706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15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18032" marR="0" indent="-205153" algn="l" defTabSz="83706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9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23183" marR="0" indent="-205153" algn="l" defTabSz="83706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1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8336" marR="0" indent="-205153" algn="l" defTabSz="83706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1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301937" indent="-209269" algn="l" defTabSz="837068" rtl="0" eaLnBrk="1" latinLnBrk="0" hangingPunct="1">
        <a:spcBef>
          <a:spcPct val="20000"/>
        </a:spcBef>
        <a:buFont typeface="Arial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720472" indent="-209269" algn="l" defTabSz="837068" rtl="0" eaLnBrk="1" latinLnBrk="0" hangingPunct="1">
        <a:spcBef>
          <a:spcPct val="20000"/>
        </a:spcBef>
        <a:buFont typeface="Arial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139006" indent="-209269" algn="l" defTabSz="837068" rtl="0" eaLnBrk="1" latinLnBrk="0" hangingPunct="1">
        <a:spcBef>
          <a:spcPct val="20000"/>
        </a:spcBef>
        <a:buFont typeface="Arial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557541" indent="-209269" algn="l" defTabSz="837068" rtl="0" eaLnBrk="1" latinLnBrk="0" hangingPunct="1">
        <a:spcBef>
          <a:spcPct val="20000"/>
        </a:spcBef>
        <a:buFont typeface="Arial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37068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1pPr>
      <a:lvl2pPr marL="418534" algn="l" defTabSz="837068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2pPr>
      <a:lvl3pPr marL="837068" algn="l" defTabSz="837068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3pPr>
      <a:lvl4pPr marL="1255602" algn="l" defTabSz="837068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4pPr>
      <a:lvl5pPr marL="1674136" algn="l" defTabSz="837068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5pPr>
      <a:lvl6pPr marL="2092671" algn="l" defTabSz="837068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511206" algn="l" defTabSz="837068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929739" algn="l" defTabSz="837068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348275" algn="l" defTabSz="837068" rtl="0" eaLnBrk="1" latinLnBrk="0" hangingPunct="1"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diagramData" Target="../diagrams/data2.xml"/><Relationship Id="rId3" Type="http://schemas.openxmlformats.org/officeDocument/2006/relationships/tags" Target="../tags/tag3.xml"/><Relationship Id="rId21" Type="http://schemas.openxmlformats.org/officeDocument/2006/relationships/diagramData" Target="../diagrams/data1.xml"/><Relationship Id="rId34" Type="http://schemas.openxmlformats.org/officeDocument/2006/relationships/diagramColors" Target="../diagrams/colors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microsoft.com/office/2007/relationships/diagramDrawing" Target="../diagrams/drawing1.xml"/><Relationship Id="rId33" Type="http://schemas.openxmlformats.org/officeDocument/2006/relationships/diagramQuickStyle" Target="../diagrams/quickStyle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notesSlide" Target="../notesSlides/notesSlide1.xml"/><Relationship Id="rId29" Type="http://schemas.openxmlformats.org/officeDocument/2006/relationships/diagramColors" Target="../diagrams/colors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diagramColors" Target="../diagrams/colors1.xml"/><Relationship Id="rId32" Type="http://schemas.openxmlformats.org/officeDocument/2006/relationships/diagramLayout" Target="../diagrams/layout3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diagramQuickStyle" Target="../diagrams/quickStyle1.xml"/><Relationship Id="rId28" Type="http://schemas.openxmlformats.org/officeDocument/2006/relationships/diagramQuickStyle" Target="../diagrams/quickStyle2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9.xml"/><Relationship Id="rId31" Type="http://schemas.openxmlformats.org/officeDocument/2006/relationships/diagramData" Target="../diagrams/data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diagramLayout" Target="../diagrams/layout1.xml"/><Relationship Id="rId27" Type="http://schemas.openxmlformats.org/officeDocument/2006/relationships/diagramLayout" Target="../diagrams/layout2.xml"/><Relationship Id="rId30" Type="http://schemas.microsoft.com/office/2007/relationships/diagramDrawing" Target="../diagrams/drawing2.xml"/><Relationship Id="rId35" Type="http://schemas.microsoft.com/office/2007/relationships/diagramDrawing" Target="../diagrams/drawin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5911321"/>
              </p:ext>
            </p:extLst>
          </p:nvPr>
        </p:nvGraphicFramePr>
        <p:xfrm>
          <a:off x="9242153" y="358440"/>
          <a:ext cx="3129366" cy="10479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3122">
                  <a:extLst>
                    <a:ext uri="{9D8B030D-6E8A-4147-A177-3AD203B41FA5}">
                      <a16:colId xmlns:a16="http://schemas.microsoft.com/office/drawing/2014/main" val="1526329142"/>
                    </a:ext>
                  </a:extLst>
                </a:gridCol>
                <a:gridCol w="1043122">
                  <a:extLst>
                    <a:ext uri="{9D8B030D-6E8A-4147-A177-3AD203B41FA5}">
                      <a16:colId xmlns:a16="http://schemas.microsoft.com/office/drawing/2014/main" val="3911447378"/>
                    </a:ext>
                  </a:extLst>
                </a:gridCol>
                <a:gridCol w="1043122">
                  <a:extLst>
                    <a:ext uri="{9D8B030D-6E8A-4147-A177-3AD203B41FA5}">
                      <a16:colId xmlns:a16="http://schemas.microsoft.com/office/drawing/2014/main" val="2510018041"/>
                    </a:ext>
                  </a:extLst>
                </a:gridCol>
              </a:tblGrid>
              <a:tr h="1047914">
                <a:tc>
                  <a:txBody>
                    <a:bodyPr/>
                    <a:lstStyle/>
                    <a:p>
                      <a:endParaRPr lang="nl-NL" sz="1700" dirty="0"/>
                    </a:p>
                  </a:txBody>
                  <a:tcPr marL="94125" marR="94125" marT="47062" marB="47062"/>
                </a:tc>
                <a:tc>
                  <a:txBody>
                    <a:bodyPr/>
                    <a:lstStyle/>
                    <a:p>
                      <a:endParaRPr lang="nl-NL" sz="1700"/>
                    </a:p>
                  </a:txBody>
                  <a:tcPr marL="94125" marR="94125" marT="47062" marB="47062"/>
                </a:tc>
                <a:tc>
                  <a:txBody>
                    <a:bodyPr/>
                    <a:lstStyle/>
                    <a:p>
                      <a:endParaRPr lang="nl-NL" sz="1700" dirty="0"/>
                    </a:p>
                  </a:txBody>
                  <a:tcPr marL="94125" marR="94125" marT="47062" marB="47062"/>
                </a:tc>
                <a:extLst>
                  <a:ext uri="{0D108BD9-81ED-4DB2-BD59-A6C34878D82A}">
                    <a16:rowId xmlns:a16="http://schemas.microsoft.com/office/drawing/2014/main" val="716625832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091" y="259313"/>
            <a:ext cx="12238632" cy="1259532"/>
          </a:xfrm>
        </p:spPr>
        <p:txBody>
          <a:bodyPr anchor="ctr"/>
          <a:lstStyle/>
          <a:p>
            <a:r>
              <a:rPr lang="en-IN" dirty="0"/>
              <a:t>Scenario &amp; Business Justification</a:t>
            </a:r>
          </a:p>
        </p:txBody>
      </p:sp>
      <p:sp>
        <p:nvSpPr>
          <p:cNvPr id="37" name="Rectangle 36"/>
          <p:cNvSpPr/>
          <p:nvPr>
            <p:custDataLst>
              <p:tags r:id="rId1"/>
            </p:custDataLst>
          </p:nvPr>
        </p:nvSpPr>
        <p:spPr>
          <a:xfrm>
            <a:off x="3778457" y="2424979"/>
            <a:ext cx="4850816" cy="593055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5998" tIns="95998" rIns="95998" bIns="95998" anchor="b">
            <a:sp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r>
              <a:rPr lang="en-IN" sz="2520" dirty="0">
                <a:solidFill>
                  <a:srgbClr val="505050"/>
                </a:solidFill>
                <a:latin typeface="Segoe UI Light"/>
                <a:cs typeface="Segoe UI Semibold" panose="020B0702040204020203" pitchFamily="34" charset="0"/>
                <a:sym typeface="Wingdings" pitchFamily="2" charset="2"/>
              </a:rPr>
              <a:t>Focus Areas for Investment</a:t>
            </a:r>
          </a:p>
        </p:txBody>
      </p:sp>
      <p:sp>
        <p:nvSpPr>
          <p:cNvPr id="38" name="Rectangle 37"/>
          <p:cNvSpPr/>
          <p:nvPr>
            <p:custDataLst>
              <p:tags r:id="rId2"/>
            </p:custDataLst>
          </p:nvPr>
        </p:nvSpPr>
        <p:spPr>
          <a:xfrm>
            <a:off x="136382" y="2438260"/>
            <a:ext cx="3687661" cy="589357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5998" tIns="95998" rIns="95998" bIns="95998" anchor="b">
            <a:sp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r>
              <a:rPr lang="en-US" sz="2520" dirty="0">
                <a:solidFill>
                  <a:srgbClr val="505050"/>
                </a:solidFill>
                <a:latin typeface="Segoe UI Light"/>
                <a:cs typeface="Segoe UI Semibold" panose="020B0702040204020203" pitchFamily="34" charset="0"/>
                <a:sym typeface="Wingdings" pitchFamily="2" charset="2"/>
              </a:rPr>
              <a:t>Drivers</a:t>
            </a:r>
          </a:p>
        </p:txBody>
      </p:sp>
      <p:sp>
        <p:nvSpPr>
          <p:cNvPr id="39" name="Rectangle 38"/>
          <p:cNvSpPr/>
          <p:nvPr>
            <p:custDataLst>
              <p:tags r:id="rId3"/>
            </p:custDataLst>
          </p:nvPr>
        </p:nvSpPr>
        <p:spPr>
          <a:xfrm>
            <a:off x="8608517" y="2438260"/>
            <a:ext cx="3687661" cy="589357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5998" tIns="95998" rIns="95998" bIns="95998" anchor="b">
            <a:sp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r>
              <a:rPr lang="en-US" sz="2520" dirty="0">
                <a:solidFill>
                  <a:srgbClr val="505050"/>
                </a:solidFill>
                <a:latin typeface="Segoe UI Light"/>
                <a:cs typeface="Segoe UI Semibold" panose="020B0702040204020203" pitchFamily="34" charset="0"/>
                <a:sym typeface="Wingdings" pitchFamily="2" charset="2"/>
              </a:rPr>
              <a:t>Benefits</a:t>
            </a:r>
          </a:p>
        </p:txBody>
      </p:sp>
      <p:sp>
        <p:nvSpPr>
          <p:cNvPr id="42" name="Oval 41"/>
          <p:cNvSpPr/>
          <p:nvPr/>
        </p:nvSpPr>
        <p:spPr>
          <a:xfrm flipH="1">
            <a:off x="3898251" y="5022083"/>
            <a:ext cx="399991" cy="399984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noFill/>
          </a:ln>
          <a:effectLst/>
        </p:spPr>
        <p:txBody>
          <a:bodyPr vert="horz" wrap="square" lIns="0" tIns="47999" rIns="0" bIns="47999" rtlCol="0" anchor="ctr">
            <a:noAutofit/>
          </a:bodyPr>
          <a:lstStyle/>
          <a:p>
            <a:pPr algn="ctr" defTabSz="960015"/>
            <a:endParaRPr lang="en-IN" sz="2520" dirty="0">
              <a:solidFill>
                <a:prstClr val="white"/>
              </a:solidFill>
              <a:effectLst>
                <a:outerShdw blurRad="38100" dist="25400" dir="2700000" algn="tl">
                  <a:srgbClr val="000000">
                    <a:alpha val="0"/>
                  </a:srgbClr>
                </a:outerShdw>
              </a:effectLst>
              <a:latin typeface="Segoe UI Light"/>
            </a:endParaRPr>
          </a:p>
        </p:txBody>
      </p:sp>
      <p:sp>
        <p:nvSpPr>
          <p:cNvPr id="27" name="Freeform 26"/>
          <p:cNvSpPr/>
          <p:nvPr/>
        </p:nvSpPr>
        <p:spPr>
          <a:xfrm rot="16200000" flipH="1">
            <a:off x="4013245" y="5111203"/>
            <a:ext cx="170007" cy="221744"/>
          </a:xfrm>
          <a:custGeom>
            <a:avLst/>
            <a:gdLst>
              <a:gd name="connsiteX0" fmla="*/ 0 w 227226"/>
              <a:gd name="connsiteY0" fmla="*/ 97503 h 296377"/>
              <a:gd name="connsiteX1" fmla="*/ 0 w 227226"/>
              <a:gd name="connsiteY1" fmla="*/ 177339 h 296377"/>
              <a:gd name="connsiteX2" fmla="*/ 113613 w 227226"/>
              <a:gd name="connsiteY2" fmla="*/ 296377 h 296377"/>
              <a:gd name="connsiteX3" fmla="*/ 227226 w 227226"/>
              <a:gd name="connsiteY3" fmla="*/ 177339 h 296377"/>
              <a:gd name="connsiteX4" fmla="*/ 227226 w 227226"/>
              <a:gd name="connsiteY4" fmla="*/ 97503 h 296377"/>
              <a:gd name="connsiteX5" fmla="*/ 157531 w 227226"/>
              <a:gd name="connsiteY5" fmla="*/ 170525 h 296377"/>
              <a:gd name="connsiteX6" fmla="*/ 157531 w 227226"/>
              <a:gd name="connsiteY6" fmla="*/ 0 h 296377"/>
              <a:gd name="connsiteX7" fmla="*/ 69677 w 227226"/>
              <a:gd name="connsiteY7" fmla="*/ 0 h 296377"/>
              <a:gd name="connsiteX8" fmla="*/ 69677 w 227226"/>
              <a:gd name="connsiteY8" fmla="*/ 170507 h 296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226" h="296377">
                <a:moveTo>
                  <a:pt x="0" y="97503"/>
                </a:moveTo>
                <a:lnTo>
                  <a:pt x="0" y="177339"/>
                </a:lnTo>
                <a:lnTo>
                  <a:pt x="113613" y="296377"/>
                </a:lnTo>
                <a:lnTo>
                  <a:pt x="227226" y="177339"/>
                </a:lnTo>
                <a:lnTo>
                  <a:pt x="227226" y="97503"/>
                </a:lnTo>
                <a:lnTo>
                  <a:pt x="157531" y="170525"/>
                </a:lnTo>
                <a:lnTo>
                  <a:pt x="157531" y="0"/>
                </a:lnTo>
                <a:lnTo>
                  <a:pt x="69677" y="0"/>
                </a:lnTo>
                <a:lnTo>
                  <a:pt x="69677" y="1705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47999" rIns="0" bIns="47999" rtlCol="0" anchor="ctr">
            <a:noAutofit/>
          </a:bodyPr>
          <a:lstStyle/>
          <a:p>
            <a:pPr algn="ctr" defTabSz="960015"/>
            <a:endParaRPr lang="en-IN" sz="2520" dirty="0">
              <a:solidFill>
                <a:prstClr val="white"/>
              </a:solidFill>
              <a:effectLst>
                <a:outerShdw blurRad="38100" dist="25400" dir="2700000" algn="tl">
                  <a:srgbClr val="000000">
                    <a:alpha val="0"/>
                  </a:srgbClr>
                </a:outerShdw>
              </a:effectLst>
              <a:latin typeface="Segoe UI Light"/>
            </a:endParaRPr>
          </a:p>
        </p:txBody>
      </p:sp>
      <p:sp>
        <p:nvSpPr>
          <p:cNvPr id="29" name="Oval 28"/>
          <p:cNvSpPr/>
          <p:nvPr/>
        </p:nvSpPr>
        <p:spPr>
          <a:xfrm flipH="1">
            <a:off x="8134319" y="5022083"/>
            <a:ext cx="399991" cy="399984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noFill/>
          </a:ln>
          <a:effectLst/>
        </p:spPr>
        <p:txBody>
          <a:bodyPr vert="horz" wrap="square" lIns="0" tIns="47999" rIns="0" bIns="47999" rtlCol="0" anchor="ctr">
            <a:noAutofit/>
          </a:bodyPr>
          <a:lstStyle/>
          <a:p>
            <a:pPr algn="ctr" defTabSz="960015"/>
            <a:endParaRPr lang="en-IN" sz="2520" dirty="0">
              <a:solidFill>
                <a:prstClr val="white"/>
              </a:solidFill>
              <a:effectLst>
                <a:outerShdw blurRad="38100" dist="25400" dir="2700000" algn="tl">
                  <a:srgbClr val="000000">
                    <a:alpha val="0"/>
                  </a:srgbClr>
                </a:outerShdw>
              </a:effectLst>
              <a:latin typeface="Segoe UI Light"/>
            </a:endParaRPr>
          </a:p>
        </p:txBody>
      </p:sp>
      <p:sp>
        <p:nvSpPr>
          <p:cNvPr id="28" name="Freeform 27"/>
          <p:cNvSpPr/>
          <p:nvPr/>
        </p:nvSpPr>
        <p:spPr>
          <a:xfrm rot="16200000" flipH="1">
            <a:off x="8249311" y="5111204"/>
            <a:ext cx="170007" cy="221744"/>
          </a:xfrm>
          <a:custGeom>
            <a:avLst/>
            <a:gdLst>
              <a:gd name="connsiteX0" fmla="*/ 0 w 227226"/>
              <a:gd name="connsiteY0" fmla="*/ 97503 h 296377"/>
              <a:gd name="connsiteX1" fmla="*/ 0 w 227226"/>
              <a:gd name="connsiteY1" fmla="*/ 177339 h 296377"/>
              <a:gd name="connsiteX2" fmla="*/ 113613 w 227226"/>
              <a:gd name="connsiteY2" fmla="*/ 296377 h 296377"/>
              <a:gd name="connsiteX3" fmla="*/ 227226 w 227226"/>
              <a:gd name="connsiteY3" fmla="*/ 177339 h 296377"/>
              <a:gd name="connsiteX4" fmla="*/ 227226 w 227226"/>
              <a:gd name="connsiteY4" fmla="*/ 97503 h 296377"/>
              <a:gd name="connsiteX5" fmla="*/ 157531 w 227226"/>
              <a:gd name="connsiteY5" fmla="*/ 170525 h 296377"/>
              <a:gd name="connsiteX6" fmla="*/ 157531 w 227226"/>
              <a:gd name="connsiteY6" fmla="*/ 0 h 296377"/>
              <a:gd name="connsiteX7" fmla="*/ 69677 w 227226"/>
              <a:gd name="connsiteY7" fmla="*/ 0 h 296377"/>
              <a:gd name="connsiteX8" fmla="*/ 69677 w 227226"/>
              <a:gd name="connsiteY8" fmla="*/ 170507 h 296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226" h="296377">
                <a:moveTo>
                  <a:pt x="0" y="97503"/>
                </a:moveTo>
                <a:lnTo>
                  <a:pt x="0" y="177339"/>
                </a:lnTo>
                <a:lnTo>
                  <a:pt x="113613" y="296377"/>
                </a:lnTo>
                <a:lnTo>
                  <a:pt x="227226" y="177339"/>
                </a:lnTo>
                <a:lnTo>
                  <a:pt x="227226" y="97503"/>
                </a:lnTo>
                <a:lnTo>
                  <a:pt x="157531" y="170525"/>
                </a:lnTo>
                <a:lnTo>
                  <a:pt x="157531" y="0"/>
                </a:lnTo>
                <a:lnTo>
                  <a:pt x="69677" y="0"/>
                </a:lnTo>
                <a:lnTo>
                  <a:pt x="69677" y="1705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47999" rIns="0" bIns="47999" rtlCol="0" anchor="ctr">
            <a:noAutofit/>
          </a:bodyPr>
          <a:lstStyle/>
          <a:p>
            <a:pPr algn="ctr" defTabSz="960015"/>
            <a:endParaRPr lang="en-IN" sz="2520" dirty="0">
              <a:solidFill>
                <a:prstClr val="white"/>
              </a:solidFill>
              <a:effectLst>
                <a:outerShdw blurRad="38100" dist="25400" dir="2700000" algn="tl">
                  <a:srgbClr val="000000">
                    <a:alpha val="0"/>
                  </a:srgbClr>
                </a:outerShdw>
              </a:effectLst>
              <a:latin typeface="Segoe UI Light"/>
            </a:endParaRPr>
          </a:p>
        </p:txBody>
      </p:sp>
      <p:sp>
        <p:nvSpPr>
          <p:cNvPr id="53" name="Rectangle 52"/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36382" y="2984492"/>
            <a:ext cx="3687661" cy="10910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IN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8" name="Rectangle 57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136382" y="5239685"/>
            <a:ext cx="3687661" cy="10910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IN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2" name="Rectangle 61"/>
          <p:cNvSpPr/>
          <p:nvPr>
            <p:custDataLst>
              <p:tags r:id="rId6"/>
            </p:custDataLst>
          </p:nvPr>
        </p:nvSpPr>
        <p:spPr>
          <a:xfrm>
            <a:off x="136382" y="4113782"/>
            <a:ext cx="3687661" cy="108770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US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0" name="Rectangle 29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136382" y="6368569"/>
            <a:ext cx="3687661" cy="10910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IN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2" name="Rectangle 31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4370380" y="2974496"/>
            <a:ext cx="3687661" cy="10910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IN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3" name="Rectangle 32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4370380" y="5229689"/>
            <a:ext cx="3687661" cy="10910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IN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4" name="Rectangle 33"/>
          <p:cNvSpPr/>
          <p:nvPr>
            <p:custDataLst>
              <p:tags r:id="rId10"/>
            </p:custDataLst>
          </p:nvPr>
        </p:nvSpPr>
        <p:spPr>
          <a:xfrm>
            <a:off x="4370380" y="4103786"/>
            <a:ext cx="3687661" cy="108770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US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5" name="Rectangle 34"/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4370380" y="6358573"/>
            <a:ext cx="3687661" cy="10910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IN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6" name="Rectangle 35"/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8763173" y="2951374"/>
            <a:ext cx="3687661" cy="10910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IN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0" name="Rectangle 39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8777688" y="5212179"/>
            <a:ext cx="3687661" cy="10910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IN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1" name="Rectangle 40"/>
          <p:cNvSpPr/>
          <p:nvPr>
            <p:custDataLst>
              <p:tags r:id="rId14"/>
            </p:custDataLst>
          </p:nvPr>
        </p:nvSpPr>
        <p:spPr>
          <a:xfrm>
            <a:off x="8777688" y="4086275"/>
            <a:ext cx="3687661" cy="108770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US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Rectangle 42"/>
          <p:cNvSpPr>
            <a:spLocks/>
          </p:cNvSpPr>
          <p:nvPr>
            <p:custDataLst>
              <p:tags r:id="rId15"/>
            </p:custDataLst>
          </p:nvPr>
        </p:nvSpPr>
        <p:spPr>
          <a:xfrm>
            <a:off x="8777688" y="6341063"/>
            <a:ext cx="3687661" cy="10910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IN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23" name="Diagram 22"/>
          <p:cNvGraphicFramePr/>
          <p:nvPr>
            <p:extLst>
              <p:ext uri="{D42A27DB-BD31-4B8C-83A1-F6EECF244321}">
                <p14:modId xmlns:p14="http://schemas.microsoft.com/office/powerpoint/2010/main" val="2589259308"/>
              </p:ext>
            </p:extLst>
          </p:nvPr>
        </p:nvGraphicFramePr>
        <p:xfrm>
          <a:off x="11124645" y="405315"/>
          <a:ext cx="1470479" cy="912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  <p:graphicFrame>
        <p:nvGraphicFramePr>
          <p:cNvPr id="24" name="Diagram 23"/>
          <p:cNvGraphicFramePr/>
          <p:nvPr>
            <p:extLst>
              <p:ext uri="{D42A27DB-BD31-4B8C-83A1-F6EECF244321}">
                <p14:modId xmlns:p14="http://schemas.microsoft.com/office/powerpoint/2010/main" val="641133313"/>
              </p:ext>
            </p:extLst>
          </p:nvPr>
        </p:nvGraphicFramePr>
        <p:xfrm>
          <a:off x="10183399" y="405315"/>
          <a:ext cx="1254995" cy="933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6" r:lo="rId27" r:qs="rId28" r:cs="rId29"/>
          </a:graphicData>
        </a:graphic>
      </p:graphicFrame>
      <p:graphicFrame>
        <p:nvGraphicFramePr>
          <p:cNvPr id="25" name="Diagram 24"/>
          <p:cNvGraphicFramePr/>
          <p:nvPr>
            <p:extLst>
              <p:ext uri="{D42A27DB-BD31-4B8C-83A1-F6EECF244321}">
                <p14:modId xmlns:p14="http://schemas.microsoft.com/office/powerpoint/2010/main" val="3376237156"/>
              </p:ext>
            </p:extLst>
          </p:nvPr>
        </p:nvGraphicFramePr>
        <p:xfrm>
          <a:off x="9163716" y="405315"/>
          <a:ext cx="1174124" cy="933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1" r:lo="rId32" r:qs="rId33" r:cs="rId34"/>
          </a:graphicData>
        </a:graphic>
      </p:graphicFrame>
      <p:sp>
        <p:nvSpPr>
          <p:cNvPr id="31" name="Rectangle 30"/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143756" y="7527395"/>
            <a:ext cx="3687661" cy="10910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IN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4" name="Rectangle 43"/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4377754" y="7517399"/>
            <a:ext cx="3687661" cy="10910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IN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5" name="Rectangle 44"/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8785062" y="7499889"/>
            <a:ext cx="3687661" cy="109109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5998" tIns="47999" rIns="95998" bIns="4799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60015" fontAlgn="base">
              <a:buClr>
                <a:srgbClr val="FFFF99"/>
              </a:buClr>
              <a:buSzPct val="90000"/>
            </a:pPr>
            <a:endParaRPr lang="en-IN" sz="189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909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KyQtWXA0GgKmAIo9AQ0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P0vtMPtkKWEtF0.UBQ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2Zwn8NEaGm_LG8M_c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P0vtMPtkKWEtF0.UBQ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fLmoQ7akizLDDn8wg3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KyQtWXA0GgKmAIo9AQ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2Zwn8NEaGm_LG8M_c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P0vtMPtkKWEtF0.UBQ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2Zwn8NEaGm_LG8M_c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_v3rcO06MUPn0qnm_Hg"/>
</p:tagLst>
</file>

<file path=ppt/theme/theme1.xml><?xml version="1.0" encoding="utf-8"?>
<a:theme xmlns:a="http://schemas.openxmlformats.org/drawingml/2006/main" name="1_WHITE TEMPLATE">
  <a:themeElements>
    <a:clrScheme name="MSVID White Brand template_10-14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1CEFCF73-EB2A-45D7-B34D-3D83F94B6F2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C04F9B00AAB74993E989251EFE55A0" ma:contentTypeVersion="6" ma:contentTypeDescription="Create a new document." ma:contentTypeScope="" ma:versionID="58f0d234c935481b12d5040d8f35e310">
  <xsd:schema xmlns:xsd="http://www.w3.org/2001/XMLSchema" xmlns:xs="http://www.w3.org/2001/XMLSchema" xmlns:p="http://schemas.microsoft.com/office/2006/metadata/properties" xmlns:ns2="9185d7ef-16d5-49d7-a819-315700805356" xmlns:ns3="6c559e31-b32b-427b-8fca-caa84a2cf80d" targetNamespace="http://schemas.microsoft.com/office/2006/metadata/properties" ma:root="true" ma:fieldsID="4e56b023a545d5ef210d77bfd62ab024" ns2:_="" ns3:_="">
    <xsd:import namespace="9185d7ef-16d5-49d7-a819-315700805356"/>
    <xsd:import namespace="6c559e31-b32b-427b-8fca-caa84a2cf80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85d7ef-16d5-49d7-a819-31570080535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559e31-b32b-427b-8fca-caa84a2cf8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790CC9C-BF9C-4853-98A6-CB50B6B43C3D}">
  <ds:schemaRefs>
    <ds:schemaRef ds:uri="http://purl.org/dc/terms/"/>
    <ds:schemaRef ds:uri="6c559e31-b32b-427b-8fca-caa84a2cf80d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9185d7ef-16d5-49d7-a819-315700805356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ADD8A40-A2F2-4621-9FE0-745BEE084D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00FD392-C40E-4AAC-B194-0ADF42CBCF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185d7ef-16d5-49d7-a819-315700805356"/>
    <ds:schemaRef ds:uri="6c559e31-b32b-427b-8fca-caa84a2cf8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3</TotalTime>
  <Words>17</Words>
  <Application>Microsoft Office PowerPoint</Application>
  <PresentationFormat>A3 Paper (297x420 mm)</PresentationFormat>
  <Paragraphs>8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nsolas</vt:lpstr>
      <vt:lpstr>Segoe UI</vt:lpstr>
      <vt:lpstr>Segoe UI Light</vt:lpstr>
      <vt:lpstr>Segoe UI Semibold</vt:lpstr>
      <vt:lpstr>Wingdings</vt:lpstr>
      <vt:lpstr>1_WHITE TEMPLATE</vt:lpstr>
      <vt:lpstr>Scenario &amp; Business Justific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trid Hackenberg</dc:creator>
  <cp:lastModifiedBy>Astrid Hackenberg</cp:lastModifiedBy>
  <cp:revision>8</cp:revision>
  <dcterms:created xsi:type="dcterms:W3CDTF">2017-04-03T14:32:40Z</dcterms:created>
  <dcterms:modified xsi:type="dcterms:W3CDTF">2017-04-04T09:5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C04F9B00AAB74993E989251EFE55A0</vt:lpwstr>
  </property>
</Properties>
</file>